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5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6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7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8.xml" ContentType="application/vnd.openxmlformats-officedocument.theme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9.xml" ContentType="application/vnd.openxmlformats-officedocument.theme+xml"/>
  <Override PartName="/ppt/slideLayouts/slideLayout76.xml" ContentType="application/vnd.openxmlformats-officedocument.presentationml.slideLayout+xml"/>
  <Override PartName="/ppt/theme/theme10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11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12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3.xml" ContentType="application/vnd.openxmlformats-officedocument.theme+xml"/>
  <Override PartName="/ppt/tags/tag2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4.xml" ContentType="application/vnd.openxmlformats-officedocument.theme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4" r:id="rId1"/>
    <p:sldMasterId id="2147483809" r:id="rId2"/>
    <p:sldMasterId id="2147483817" r:id="rId3"/>
    <p:sldMasterId id="2147483828" r:id="rId4"/>
    <p:sldMasterId id="2147483839" r:id="rId5"/>
    <p:sldMasterId id="2147483855" r:id="rId6"/>
    <p:sldMasterId id="2147483874" r:id="rId7"/>
    <p:sldMasterId id="2147483879" r:id="rId8"/>
    <p:sldMasterId id="2147483884" r:id="rId9"/>
    <p:sldMasterId id="2147483899" r:id="rId10"/>
    <p:sldMasterId id="2147483902" r:id="rId11"/>
    <p:sldMasterId id="2147483937" r:id="rId12"/>
    <p:sldMasterId id="2147483951" r:id="rId13"/>
    <p:sldMasterId id="2147483979" r:id="rId14"/>
  </p:sldMasterIdLst>
  <p:notesMasterIdLst>
    <p:notesMasterId r:id="rId23"/>
  </p:notesMasterIdLst>
  <p:handoutMasterIdLst>
    <p:handoutMasterId r:id="rId24"/>
  </p:handoutMasterIdLst>
  <p:sldIdLst>
    <p:sldId id="386" r:id="rId15"/>
    <p:sldId id="385" r:id="rId16"/>
    <p:sldId id="366" r:id="rId17"/>
    <p:sldId id="374" r:id="rId18"/>
    <p:sldId id="377" r:id="rId19"/>
    <p:sldId id="378" r:id="rId20"/>
    <p:sldId id="380" r:id="rId21"/>
    <p:sldId id="384" r:id="rId22"/>
  </p:sldIdLst>
  <p:sldSz cx="9144000" cy="5143500" type="screen16x9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239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rran Riddle" initials="AR" lastIdx="4" clrIdx="0">
    <p:extLst>
      <p:ext uri="{19B8F6BF-5375-455C-9EA6-DF929625EA0E}">
        <p15:presenceInfo xmlns:p15="http://schemas.microsoft.com/office/powerpoint/2012/main" userId="S-1-5-21-3346166985-1548841365-2365452741-1471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A0000"/>
    <a:srgbClr val="575756"/>
    <a:srgbClr val="94BFBD"/>
    <a:srgbClr val="E30613"/>
    <a:srgbClr val="E21E25"/>
    <a:srgbClr val="960000"/>
    <a:srgbClr val="F57575"/>
    <a:srgbClr val="B10F0F"/>
    <a:srgbClr val="B2B2B2"/>
    <a:srgbClr val="B4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484" autoAdjust="0"/>
    <p:restoredTop sz="60638" autoAdjust="0"/>
  </p:normalViewPr>
  <p:slideViewPr>
    <p:cSldViewPr showGuides="1">
      <p:cViewPr varScale="1">
        <p:scale>
          <a:sx n="146" d="100"/>
          <a:sy n="146" d="100"/>
        </p:scale>
        <p:origin x="192" y="272"/>
      </p:cViewPr>
      <p:guideLst>
        <p:guide orient="horz" pos="3239"/>
        <p:guide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>
        <p:scale>
          <a:sx n="100" d="100"/>
          <a:sy n="100" d="100"/>
        </p:scale>
        <p:origin x="1830" y="-163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4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7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3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8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0E4090-F07B-473B-B97D-EE7D61C6B9EE}" type="datetimeFigureOut">
              <a:rPr lang="en-ZA" smtClean="0"/>
              <a:t>2019/07/21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952DB23-E148-4DA9-B1BF-0C0C81E86E0A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6466607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E42508D-DFC3-4959-A3B8-CF01D06227B5}" type="datetimeFigureOut">
              <a:rPr lang="en-ZA" smtClean="0"/>
              <a:t>2019/07/21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D026F95-6645-4D84-B47C-E7B4E1A6F545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513132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026F95-6645-4D84-B47C-E7B4E1A6F545}" type="slidenum">
              <a:rPr lang="en-ZA" smtClean="0"/>
              <a:t>1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5058215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026F95-6645-4D84-B47C-E7B4E1A6F545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41850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026F95-6645-4D84-B47C-E7B4E1A6F545}" type="slidenum">
              <a:rPr lang="en-ZA" smtClean="0"/>
              <a:t>3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1081930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026F95-6645-4D84-B47C-E7B4E1A6F545}" type="slidenum">
              <a:rPr lang="en-ZA" smtClean="0"/>
              <a:t>4</a:t>
            </a:fld>
            <a:endParaRPr lang="en-ZA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C47A0B27-42FD-4C7C-8207-4EFD197154F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7143737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026F95-6645-4D84-B47C-E7B4E1A6F545}" type="slidenum">
              <a:rPr lang="en-ZA" smtClean="0"/>
              <a:t>5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3357079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026F95-6645-4D84-B47C-E7B4E1A6F545}" type="slidenum">
              <a:rPr lang="en-ZA" smtClean="0"/>
              <a:t>6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945380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026F95-6645-4D84-B47C-E7B4E1A6F545}" type="slidenum">
              <a:rPr lang="en-ZA" smtClean="0"/>
              <a:t>7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068953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9.png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12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2.bin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1205136" y="1347614"/>
            <a:ext cx="7399312" cy="31683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6546436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Ba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13"/>
          <p:cNvSpPr>
            <a:spLocks noGrp="1"/>
          </p:cNvSpPr>
          <p:nvPr>
            <p:ph sz="quarter" idx="13"/>
          </p:nvPr>
        </p:nvSpPr>
        <p:spPr>
          <a:xfrm>
            <a:off x="422895" y="2025030"/>
            <a:ext cx="2362200" cy="226695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8"/>
          <p:cNvSpPr>
            <a:spLocks noGrp="1"/>
          </p:cNvSpPr>
          <p:nvPr>
            <p:ph sz="quarter" idx="39"/>
          </p:nvPr>
        </p:nvSpPr>
        <p:spPr>
          <a:xfrm>
            <a:off x="422895" y="1491630"/>
            <a:ext cx="1984248" cy="347472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400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42"/>
          </p:nvPr>
        </p:nvSpPr>
        <p:spPr>
          <a:xfrm>
            <a:off x="3361928" y="2025030"/>
            <a:ext cx="2362200" cy="226695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13"/>
          <p:cNvSpPr>
            <a:spLocks noGrp="1"/>
          </p:cNvSpPr>
          <p:nvPr>
            <p:ph sz="quarter" idx="43"/>
          </p:nvPr>
        </p:nvSpPr>
        <p:spPr>
          <a:xfrm>
            <a:off x="6324600" y="2034555"/>
            <a:ext cx="2362200" cy="226695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8"/>
          <p:cNvSpPr>
            <a:spLocks noGrp="1"/>
          </p:cNvSpPr>
          <p:nvPr>
            <p:ph sz="quarter" idx="60"/>
          </p:nvPr>
        </p:nvSpPr>
        <p:spPr>
          <a:xfrm>
            <a:off x="3361928" y="1491630"/>
            <a:ext cx="1984248" cy="347472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400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Content Placeholder 38"/>
          <p:cNvSpPr>
            <a:spLocks noGrp="1"/>
          </p:cNvSpPr>
          <p:nvPr>
            <p:ph sz="quarter" idx="61"/>
          </p:nvPr>
        </p:nvSpPr>
        <p:spPr>
          <a:xfrm>
            <a:off x="6324600" y="1501155"/>
            <a:ext cx="1984248" cy="347472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400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3059832" y="1841361"/>
            <a:ext cx="0" cy="17526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6012160" y="1850886"/>
            <a:ext cx="0" cy="17526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93822742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13"/>
          <p:cNvSpPr>
            <a:spLocks noGrp="1"/>
          </p:cNvSpPr>
          <p:nvPr>
            <p:ph sz="quarter" idx="13"/>
          </p:nvPr>
        </p:nvSpPr>
        <p:spPr>
          <a:xfrm>
            <a:off x="433137" y="1436400"/>
            <a:ext cx="4066856" cy="3132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788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13"/>
          <p:cNvSpPr>
            <a:spLocks noGrp="1"/>
          </p:cNvSpPr>
          <p:nvPr>
            <p:ph sz="quarter" idx="16"/>
          </p:nvPr>
        </p:nvSpPr>
        <p:spPr>
          <a:xfrm>
            <a:off x="4692316" y="1436400"/>
            <a:ext cx="4066856" cy="3132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788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C93F3BA-2424-4C34-8B7C-205B3BB30EE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20688" y="843559"/>
            <a:ext cx="8338483" cy="42128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100">
                <a:solidFill>
                  <a:srgbClr val="57575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31772201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3"/>
          <p:cNvSpPr>
            <a:spLocks noGrp="1"/>
          </p:cNvSpPr>
          <p:nvPr>
            <p:ph sz="quarter" idx="13"/>
          </p:nvPr>
        </p:nvSpPr>
        <p:spPr>
          <a:xfrm>
            <a:off x="433136" y="1742392"/>
            <a:ext cx="2482680" cy="288158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788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3312694" y="1734371"/>
            <a:ext cx="2482680" cy="288158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788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5"/>
          </p:nvPr>
        </p:nvSpPr>
        <p:spPr>
          <a:xfrm>
            <a:off x="6216315" y="1742309"/>
            <a:ext cx="2482680" cy="287364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788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43336" y="1419622"/>
            <a:ext cx="2472480" cy="28803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200" b="1">
                <a:solidFill>
                  <a:srgbClr val="575756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text styl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322894" y="1419623"/>
            <a:ext cx="2472480" cy="28803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200" b="1">
                <a:solidFill>
                  <a:srgbClr val="575756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text styl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226515" y="1419622"/>
            <a:ext cx="2472480" cy="28803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1200" b="1">
                <a:solidFill>
                  <a:srgbClr val="575756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text styl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C93F3BA-2424-4C34-8B7C-205B3BB30EE9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20688" y="843559"/>
            <a:ext cx="8338483" cy="42128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100">
                <a:solidFill>
                  <a:srgbClr val="57575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3002162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r and Pi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13"/>
          <p:cNvSpPr>
            <a:spLocks noGrp="1"/>
          </p:cNvSpPr>
          <p:nvPr>
            <p:ph sz="quarter" idx="13"/>
          </p:nvPr>
        </p:nvSpPr>
        <p:spPr>
          <a:xfrm>
            <a:off x="422895" y="1952625"/>
            <a:ext cx="2362200" cy="26713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788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8"/>
          <p:cNvSpPr>
            <a:spLocks noGrp="1"/>
          </p:cNvSpPr>
          <p:nvPr>
            <p:ph sz="quarter" idx="39"/>
          </p:nvPr>
        </p:nvSpPr>
        <p:spPr>
          <a:xfrm>
            <a:off x="422895" y="1566681"/>
            <a:ext cx="1984248" cy="347472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algn="l">
              <a:buNone/>
              <a:defRPr sz="1050" b="0" i="0">
                <a:solidFill>
                  <a:srgbClr val="87878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42"/>
          </p:nvPr>
        </p:nvSpPr>
        <p:spPr>
          <a:xfrm>
            <a:off x="3361928" y="1952625"/>
            <a:ext cx="2362200" cy="26713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788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13"/>
          <p:cNvSpPr>
            <a:spLocks noGrp="1"/>
          </p:cNvSpPr>
          <p:nvPr>
            <p:ph sz="quarter" idx="43"/>
          </p:nvPr>
        </p:nvSpPr>
        <p:spPr>
          <a:xfrm>
            <a:off x="6324600" y="1962150"/>
            <a:ext cx="2362200" cy="26713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788" b="0" i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8"/>
          <p:cNvSpPr>
            <a:spLocks noGrp="1"/>
          </p:cNvSpPr>
          <p:nvPr>
            <p:ph sz="quarter" idx="60"/>
          </p:nvPr>
        </p:nvSpPr>
        <p:spPr>
          <a:xfrm>
            <a:off x="3361928" y="1566681"/>
            <a:ext cx="1984248" cy="347472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algn="l">
              <a:buNone/>
              <a:defRPr sz="1050" b="0" i="0">
                <a:solidFill>
                  <a:srgbClr val="87878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8"/>
          <p:cNvSpPr>
            <a:spLocks noGrp="1"/>
          </p:cNvSpPr>
          <p:nvPr>
            <p:ph sz="quarter" idx="61"/>
          </p:nvPr>
        </p:nvSpPr>
        <p:spPr>
          <a:xfrm>
            <a:off x="6324600" y="1576206"/>
            <a:ext cx="1984248" cy="347472"/>
          </a:xfrm>
          <a:prstGeom prst="rect">
            <a:avLst/>
          </a:prstGeom>
          <a:noFill/>
          <a:ln>
            <a:noFill/>
          </a:ln>
        </p:spPr>
        <p:txBody>
          <a:bodyPr anchor="ctr">
            <a:noAutofit/>
          </a:bodyPr>
          <a:lstStyle>
            <a:lvl1pPr algn="l">
              <a:buNone/>
              <a:defRPr sz="1050" b="0" i="0">
                <a:solidFill>
                  <a:srgbClr val="87878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3059832" y="1768956"/>
            <a:ext cx="0" cy="17526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6012160" y="1778481"/>
            <a:ext cx="0" cy="17526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DC93F3BA-2424-4C34-8B7C-205B3BB30EE9}" type="slidenum">
              <a:rPr lang="en-GB" smtClean="0"/>
              <a:t>‹#›</a:t>
            </a:fld>
            <a:endParaRPr lang="en-GB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20688" y="843559"/>
            <a:ext cx="8338483" cy="42128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100">
                <a:solidFill>
                  <a:srgbClr val="57575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0585378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707655"/>
            <a:ext cx="9144000" cy="343584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DC93F3BA-2424-4C34-8B7C-205B3BB30EE9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20688" y="843559"/>
            <a:ext cx="8338483" cy="42128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100">
                <a:solidFill>
                  <a:srgbClr val="57575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61903835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0688" y="1369219"/>
            <a:ext cx="8255769" cy="3263504"/>
          </a:xfrm>
          <a:prstGeom prst="rect">
            <a:avLst/>
          </a:prstGeom>
        </p:spPr>
        <p:txBody>
          <a:bodyPr/>
          <a:lstStyle>
            <a:lvl1pPr marL="257175" indent="-257175">
              <a:buClr>
                <a:srgbClr val="E21E25"/>
              </a:buClr>
              <a:buSzPct val="90000"/>
              <a:buFont typeface="Arial" charset="0"/>
              <a:buChar char="•"/>
              <a:defRPr>
                <a:solidFill>
                  <a:schemeClr val="tx1"/>
                </a:solidFill>
              </a:defRPr>
            </a:lvl1pPr>
            <a:lvl2pPr marL="557213" indent="-214313">
              <a:buClr>
                <a:srgbClr val="E21E25"/>
              </a:buClr>
              <a:buSzPct val="90000"/>
              <a:buFont typeface="Arial" charset="0"/>
              <a:buChar char="•"/>
              <a:defRPr>
                <a:solidFill>
                  <a:schemeClr val="tx1"/>
                </a:solidFill>
              </a:defRPr>
            </a:lvl2pPr>
            <a:lvl3pPr marL="857250" indent="-171450">
              <a:buClr>
                <a:srgbClr val="E21E25"/>
              </a:buClr>
              <a:buSzPct val="90000"/>
              <a:buFont typeface="Arial" charset="0"/>
              <a:buChar char="•"/>
              <a:defRPr>
                <a:solidFill>
                  <a:schemeClr val="tx1"/>
                </a:solidFill>
              </a:defRPr>
            </a:lvl3pPr>
            <a:lvl4pPr marL="1200150" indent="-171450">
              <a:buClr>
                <a:srgbClr val="E21E25"/>
              </a:buClr>
              <a:buSzPct val="90000"/>
              <a:buFont typeface="Arial" charset="0"/>
              <a:buChar char="•"/>
              <a:defRPr>
                <a:solidFill>
                  <a:schemeClr val="tx1"/>
                </a:solidFill>
              </a:defRPr>
            </a:lvl4pPr>
            <a:lvl5pPr marL="1543050" indent="-171450">
              <a:buClr>
                <a:srgbClr val="E21E25"/>
              </a:buClr>
              <a:buSzPct val="90000"/>
              <a:buFont typeface="Arial" charset="0"/>
              <a:buChar char="•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C93F3BA-2424-4C34-8B7C-205B3BB30EE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20688" y="843559"/>
            <a:ext cx="8338483" cy="42128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100">
                <a:solidFill>
                  <a:srgbClr val="57575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93431543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n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3"/>
          <p:cNvSpPr>
            <a:spLocks noGrp="1"/>
          </p:cNvSpPr>
          <p:nvPr>
            <p:ph sz="quarter" idx="13"/>
          </p:nvPr>
        </p:nvSpPr>
        <p:spPr>
          <a:xfrm>
            <a:off x="427038" y="1436400"/>
            <a:ext cx="8249418" cy="31320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788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C93F3BA-2424-4C34-8B7C-205B3BB30EE9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20688" y="843559"/>
            <a:ext cx="8338483" cy="42128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100">
                <a:solidFill>
                  <a:srgbClr val="57575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682239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/>
          <p:cNvSpPr>
            <a:spLocks noGrp="1"/>
          </p:cNvSpPr>
          <p:nvPr>
            <p:ph sz="quarter" idx="13"/>
          </p:nvPr>
        </p:nvSpPr>
        <p:spPr>
          <a:xfrm>
            <a:off x="420688" y="1931069"/>
            <a:ext cx="8255768" cy="26929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788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60"/>
          </p:nvPr>
        </p:nvSpPr>
        <p:spPr>
          <a:xfrm>
            <a:off x="420688" y="1509633"/>
            <a:ext cx="8255768" cy="36004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500"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DC93F3BA-2424-4C34-8B7C-205B3BB30EE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20688" y="843559"/>
            <a:ext cx="8338483" cy="42128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100">
                <a:solidFill>
                  <a:srgbClr val="57575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75018428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251520" y="4677984"/>
            <a:ext cx="8892480" cy="2160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3505200" cy="51434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tabLst>
                <a:tab pos="2219325" algn="l"/>
              </a:tabLst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707905" y="843559"/>
            <a:ext cx="4968366" cy="3833186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>
              <a:lnSpc>
                <a:spcPct val="120000"/>
              </a:lnSpc>
              <a:buClr>
                <a:srgbClr val="E21E25"/>
              </a:buClr>
              <a:buSzPct val="90000"/>
              <a:buFont typeface="Arial" charset="0"/>
              <a:buChar char="•"/>
              <a:defRPr sz="15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857250" indent="-1714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200150" indent="-1714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1543050" indent="-1714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JM" dirty="0"/>
              <a:t>Add copy for content &amp; image slide – bullet point 1</a:t>
            </a:r>
          </a:p>
          <a:p>
            <a:pPr lvl="0"/>
            <a:r>
              <a:rPr lang="en-JM" dirty="0"/>
              <a:t>Bullet point 2</a:t>
            </a:r>
          </a:p>
          <a:p>
            <a:pPr lvl="0"/>
            <a:r>
              <a:rPr lang="en-JM" dirty="0"/>
              <a:t>Bullet point 3</a:t>
            </a:r>
          </a:p>
          <a:p>
            <a:pPr lvl="0"/>
            <a:r>
              <a:rPr lang="en-JM" dirty="0"/>
              <a:t>Bullet point 4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3707905" y="4765500"/>
            <a:ext cx="4968367" cy="70202"/>
            <a:chOff x="3707904" y="6354000"/>
            <a:chExt cx="4968367" cy="93602"/>
          </a:xfrm>
        </p:grpSpPr>
        <p:sp>
          <p:nvSpPr>
            <p:cNvPr id="14" name="Rectangle 13"/>
            <p:cNvSpPr/>
            <p:nvPr userDrawn="1"/>
          </p:nvSpPr>
          <p:spPr>
            <a:xfrm>
              <a:off x="3707904" y="6354002"/>
              <a:ext cx="1655999" cy="936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350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5364088" y="6354000"/>
              <a:ext cx="1655999" cy="91949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35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7020272" y="6354002"/>
              <a:ext cx="1655999" cy="91947"/>
            </a:xfrm>
            <a:prstGeom prst="rect">
              <a:avLst/>
            </a:prstGeom>
            <a:solidFill>
              <a:srgbClr val="92AB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350"/>
            </a:p>
          </p:txBody>
        </p:sp>
      </p:grpSp>
    </p:spTree>
    <p:extLst>
      <p:ext uri="{BB962C8B-B14F-4D97-AF65-F5344CB8AC3E}">
        <p14:creationId xmlns:p14="http://schemas.microsoft.com/office/powerpoint/2010/main" val="244086122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105049"/>
            <a:ext cx="9144000" cy="27329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Rectangle 1"/>
          <p:cNvSpPr/>
          <p:nvPr/>
        </p:nvSpPr>
        <p:spPr>
          <a:xfrm>
            <a:off x="428626" y="4711305"/>
            <a:ext cx="2757488" cy="738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350"/>
          </a:p>
        </p:txBody>
      </p:sp>
      <p:sp>
        <p:nvSpPr>
          <p:cNvPr id="5" name="Rectangle 4"/>
          <p:cNvSpPr/>
          <p:nvPr/>
        </p:nvSpPr>
        <p:spPr>
          <a:xfrm>
            <a:off x="3184054" y="4711304"/>
            <a:ext cx="2757488" cy="738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350"/>
          </a:p>
        </p:txBody>
      </p:sp>
      <p:sp>
        <p:nvSpPr>
          <p:cNvPr id="6" name="Rectangle 5"/>
          <p:cNvSpPr/>
          <p:nvPr/>
        </p:nvSpPr>
        <p:spPr>
          <a:xfrm>
            <a:off x="5941543" y="4711304"/>
            <a:ext cx="2757488" cy="73819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35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291600" y="1321073"/>
            <a:ext cx="8270406" cy="98064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3000" b="1">
                <a:solidFill>
                  <a:srgbClr val="FCBB2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28800" y="3729037"/>
            <a:ext cx="7315200" cy="1414463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7972426" y="176696"/>
            <a:ext cx="726605" cy="76546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71975" y="-73671"/>
            <a:ext cx="4772025" cy="117871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729037"/>
            <a:ext cx="3764756" cy="1414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96959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28626" y="4711305"/>
            <a:ext cx="2757488" cy="738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350"/>
          </a:p>
        </p:txBody>
      </p:sp>
      <p:sp>
        <p:nvSpPr>
          <p:cNvPr id="5" name="Rectangle 4"/>
          <p:cNvSpPr/>
          <p:nvPr/>
        </p:nvSpPr>
        <p:spPr>
          <a:xfrm>
            <a:off x="3184054" y="4711304"/>
            <a:ext cx="2757488" cy="738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350"/>
          </a:p>
        </p:txBody>
      </p:sp>
      <p:sp>
        <p:nvSpPr>
          <p:cNvPr id="6" name="Rectangle 5"/>
          <p:cNvSpPr/>
          <p:nvPr/>
        </p:nvSpPr>
        <p:spPr>
          <a:xfrm>
            <a:off x="5941543" y="4711304"/>
            <a:ext cx="2757488" cy="73819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35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3643313" cy="51435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875"/>
          <a:stretch/>
        </p:blipFill>
        <p:spPr>
          <a:xfrm>
            <a:off x="1828800" y="850106"/>
            <a:ext cx="7315200" cy="429339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28800" y="1"/>
            <a:ext cx="7315200" cy="2757487"/>
          </a:xfrm>
          <a:prstGeom prst="rect">
            <a:avLst/>
          </a:prstGeom>
        </p:spPr>
      </p:pic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1619672" y="1844101"/>
            <a:ext cx="5976432" cy="159339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3000" b="1" baseline="0">
                <a:solidFill>
                  <a:srgbClr val="FCBB2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0935179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Lin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3"/>
          <p:cNvSpPr>
            <a:spLocks noGrp="1"/>
          </p:cNvSpPr>
          <p:nvPr>
            <p:ph sz="quarter" idx="13"/>
          </p:nvPr>
        </p:nvSpPr>
        <p:spPr>
          <a:xfrm>
            <a:off x="427038" y="1347614"/>
            <a:ext cx="8249418" cy="309634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04168827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45636"/>
            <a:ext cx="8229600" cy="3048690"/>
          </a:xfrm>
          <a:prstGeom prst="rect">
            <a:avLst/>
          </a:prstGeom>
        </p:spPr>
        <p:txBody>
          <a:bodyPr vert="horz"/>
          <a:lstStyle>
            <a:lvl1pPr>
              <a:buClr>
                <a:schemeClr val="accent1"/>
              </a:buClr>
              <a:defRPr sz="1519"/>
            </a:lvl1pPr>
            <a:lvl2pPr>
              <a:buClr>
                <a:schemeClr val="accent1"/>
              </a:buClr>
              <a:defRPr sz="1181"/>
            </a:lvl2pPr>
            <a:lvl3pPr>
              <a:buClr>
                <a:schemeClr val="accent1"/>
              </a:buClr>
              <a:defRPr sz="1181"/>
            </a:lvl3pPr>
            <a:lvl4pPr>
              <a:buClr>
                <a:schemeClr val="accent1"/>
              </a:buClr>
              <a:defRPr sz="1181"/>
            </a:lvl4pPr>
            <a:lvl5pPr>
              <a:buClr>
                <a:schemeClr val="accent1"/>
              </a:buClr>
              <a:defRPr sz="1181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C93F3BA-2424-4C34-8B7C-205B3BB30EE9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20688" y="843559"/>
            <a:ext cx="8338483" cy="42128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100">
                <a:solidFill>
                  <a:srgbClr val="57575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06805416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4" imgW="518" imgH="520" progId="TCLayout.ActiveDocument.1">
                  <p:embed/>
                </p:oleObj>
              </mc:Choice>
              <mc:Fallback>
                <p:oleObj name="think-cell Slide" r:id="rId4" imgW="518" imgH="52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7114" y="1347615"/>
            <a:ext cx="7399312" cy="3185146"/>
          </a:xfrm>
          <a:prstGeom prst="rect">
            <a:avLst/>
          </a:prstGeom>
        </p:spPr>
        <p:txBody>
          <a:bodyPr/>
          <a:lstStyle>
            <a:lvl1pPr marL="342884" indent="-342884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 marL="742913" indent="-285736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2pPr>
            <a:lvl3pPr marL="1142944" indent="-228588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3pPr>
            <a:lvl4pPr marL="1600120" indent="-228588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4pPr>
            <a:lvl5pPr marL="2057297" indent="-228588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420688" y="4826859"/>
            <a:ext cx="2133600" cy="273844"/>
          </a:xfrm>
        </p:spPr>
        <p:txBody>
          <a:bodyPr/>
          <a:lstStyle/>
          <a:p>
            <a:pPr defTabSz="914355"/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 defTabSz="914355"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74243908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1147762" y="270353"/>
            <a:ext cx="7493054" cy="5473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939800" y="1114160"/>
            <a:ext cx="7701015" cy="2824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20688" y="4826859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08AB27F-FE82-43F8-8A02-9B21948B93A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079908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1205136" y="1347615"/>
            <a:ext cx="7399312" cy="31683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5772202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1205136" y="1329612"/>
            <a:ext cx="7471320" cy="318635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05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JM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213201" y="297000"/>
            <a:ext cx="7463300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165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98357155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3156" y="1369219"/>
            <a:ext cx="7463300" cy="3263504"/>
          </a:xfrm>
          <a:prstGeom prst="rect">
            <a:avLst/>
          </a:prstGeom>
        </p:spPr>
        <p:txBody>
          <a:bodyPr/>
          <a:lstStyle>
            <a:lvl1pPr marL="257175" indent="-257175">
              <a:buClr>
                <a:srgbClr val="E21E25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 marL="557213" indent="-214313">
              <a:buClr>
                <a:srgbClr val="E21E25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2pPr>
            <a:lvl3pPr marL="857250" indent="-171450">
              <a:buClr>
                <a:srgbClr val="E21E25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3pPr>
            <a:lvl4pPr marL="1200150" indent="-171450">
              <a:buClr>
                <a:srgbClr val="E21E25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4pPr>
            <a:lvl5pPr marL="1543050" indent="-171450">
              <a:buClr>
                <a:srgbClr val="E21E25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/>
          <a:lstStyle/>
          <a:p>
            <a:fld id="{53B9B289-8216-8646-A817-BEA347D00612}" type="datetimeFigureOut">
              <a:rPr lang="en-US" smtClean="0"/>
              <a:t>7/21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E4384C-2326-1F41-B728-8461AAF59823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213201" y="297000"/>
            <a:ext cx="7463300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165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5547860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 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14587" y="1288704"/>
            <a:ext cx="4040188" cy="479822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050" b="1">
                <a:solidFill>
                  <a:srgbClr val="575756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414587" y="1768524"/>
            <a:ext cx="4040188" cy="2855454"/>
          </a:xfrm>
          <a:prstGeom prst="rect">
            <a:avLst/>
          </a:prstGeom>
        </p:spPr>
        <p:txBody>
          <a:bodyPr/>
          <a:lstStyle>
            <a:lvl1pPr marL="257175" indent="-257175">
              <a:buClr>
                <a:srgbClr val="E21E25"/>
              </a:buClr>
              <a:buSzPct val="90000"/>
              <a:buFont typeface="Wingdings" charset="2"/>
              <a:buChar char="§"/>
              <a:defRPr sz="1050">
                <a:solidFill>
                  <a:schemeClr val="tx2"/>
                </a:solidFill>
              </a:defRPr>
            </a:lvl1pPr>
            <a:lvl2pPr marL="557213" indent="-214313">
              <a:buClr>
                <a:srgbClr val="E21E25"/>
              </a:buClr>
              <a:buSzPct val="90000"/>
              <a:buFont typeface="Wingdings" charset="2"/>
              <a:buChar char="§"/>
              <a:defRPr sz="1050">
                <a:solidFill>
                  <a:schemeClr val="tx2"/>
                </a:solidFill>
              </a:defRPr>
            </a:lvl2pPr>
            <a:lvl3pPr marL="857250" indent="-171450">
              <a:buClr>
                <a:srgbClr val="E21E25"/>
              </a:buClr>
              <a:buSzPct val="90000"/>
              <a:buFont typeface="Wingdings" charset="2"/>
              <a:buChar char="§"/>
              <a:defRPr sz="1050">
                <a:solidFill>
                  <a:schemeClr val="tx2"/>
                </a:solidFill>
              </a:defRPr>
            </a:lvl3pPr>
            <a:lvl4pPr marL="1200150" indent="-171450">
              <a:buClr>
                <a:srgbClr val="E21E25"/>
              </a:buClr>
              <a:buSzPct val="90000"/>
              <a:buFont typeface="Wingdings" charset="2"/>
              <a:buChar char="§"/>
              <a:defRPr sz="900">
                <a:solidFill>
                  <a:schemeClr val="tx2"/>
                </a:solidFill>
              </a:defRPr>
            </a:lvl4pPr>
            <a:lvl5pPr marL="1543050" indent="-171450">
              <a:buClr>
                <a:srgbClr val="E21E25"/>
              </a:buClr>
              <a:buSzPct val="90000"/>
              <a:buFont typeface="Wingdings" charset="2"/>
              <a:buChar char="§"/>
              <a:defRPr sz="900">
                <a:solidFill>
                  <a:schemeClr val="tx2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288704"/>
            <a:ext cx="4041775" cy="479822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050" b="1">
                <a:solidFill>
                  <a:srgbClr val="575756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768524"/>
            <a:ext cx="4041775" cy="2855454"/>
          </a:xfrm>
          <a:prstGeom prst="rect">
            <a:avLst/>
          </a:prstGeom>
        </p:spPr>
        <p:txBody>
          <a:bodyPr/>
          <a:lstStyle>
            <a:lvl1pPr marL="257175" indent="-257175">
              <a:buClr>
                <a:srgbClr val="E21E25"/>
              </a:buClr>
              <a:buSzPct val="90000"/>
              <a:buFont typeface="Wingdings" charset="2"/>
              <a:buChar char="§"/>
              <a:defRPr sz="1050">
                <a:solidFill>
                  <a:schemeClr val="tx2"/>
                </a:solidFill>
              </a:defRPr>
            </a:lvl1pPr>
            <a:lvl2pPr marL="557213" indent="-214313">
              <a:buClr>
                <a:srgbClr val="E21E25"/>
              </a:buClr>
              <a:buSzPct val="90000"/>
              <a:buFont typeface="Wingdings" charset="2"/>
              <a:buChar char="§"/>
              <a:defRPr sz="1050">
                <a:solidFill>
                  <a:schemeClr val="tx2"/>
                </a:solidFill>
              </a:defRPr>
            </a:lvl2pPr>
            <a:lvl3pPr marL="857250" indent="-171450">
              <a:buClr>
                <a:srgbClr val="E21E25"/>
              </a:buClr>
              <a:buSzPct val="90000"/>
              <a:buFont typeface="Wingdings" charset="2"/>
              <a:buChar char="§"/>
              <a:defRPr sz="1050">
                <a:solidFill>
                  <a:schemeClr val="tx2"/>
                </a:solidFill>
              </a:defRPr>
            </a:lvl3pPr>
            <a:lvl4pPr marL="1200150" indent="-171450">
              <a:buClr>
                <a:srgbClr val="E21E25"/>
              </a:buClr>
              <a:buSzPct val="90000"/>
              <a:buFont typeface="Wingdings" charset="2"/>
              <a:buChar char="§"/>
              <a:defRPr sz="900">
                <a:solidFill>
                  <a:schemeClr val="tx2"/>
                </a:solidFill>
              </a:defRPr>
            </a:lvl4pPr>
            <a:lvl5pPr marL="1543050" indent="-171450">
              <a:buClr>
                <a:srgbClr val="E21E25"/>
              </a:buClr>
              <a:buSzPct val="90000"/>
              <a:buFont typeface="Wingdings" charset="2"/>
              <a:buChar char="§"/>
              <a:defRPr sz="900">
                <a:solidFill>
                  <a:schemeClr val="tx2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213201" y="297000"/>
            <a:ext cx="7463300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165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48121320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3"/>
          <p:cNvSpPr>
            <a:spLocks noGrp="1"/>
          </p:cNvSpPr>
          <p:nvPr>
            <p:ph sz="quarter" idx="13"/>
          </p:nvPr>
        </p:nvSpPr>
        <p:spPr>
          <a:xfrm>
            <a:off x="433136" y="1657856"/>
            <a:ext cx="2482680" cy="29121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05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JM" dirty="0"/>
          </a:p>
        </p:txBody>
      </p:sp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3312694" y="1649835"/>
            <a:ext cx="2482680" cy="29121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05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JM" dirty="0"/>
          </a:p>
        </p:txBody>
      </p:sp>
      <p:sp>
        <p:nvSpPr>
          <p:cNvPr id="7" name="Content Placeholder 13"/>
          <p:cNvSpPr>
            <a:spLocks noGrp="1"/>
          </p:cNvSpPr>
          <p:nvPr>
            <p:ph sz="quarter" idx="15"/>
          </p:nvPr>
        </p:nvSpPr>
        <p:spPr>
          <a:xfrm>
            <a:off x="6216315" y="1657855"/>
            <a:ext cx="2482680" cy="290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05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JM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43336" y="1360973"/>
            <a:ext cx="2472480" cy="288032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050" b="1">
                <a:solidFill>
                  <a:srgbClr val="575756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322894" y="1360974"/>
            <a:ext cx="2472480" cy="288032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050" b="1">
                <a:solidFill>
                  <a:srgbClr val="575756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226515" y="1360973"/>
            <a:ext cx="2472480" cy="288032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050" b="1">
                <a:solidFill>
                  <a:srgbClr val="575756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1213201" y="297000"/>
            <a:ext cx="7463300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165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11018066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and Content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2" y="2"/>
            <a:ext cx="3039979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JM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27039" y="1851672"/>
            <a:ext cx="2322854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>
              <a:lnSpc>
                <a:spcPct val="120000"/>
              </a:lnSpc>
              <a:buClr>
                <a:srgbClr val="E21E25"/>
              </a:buClr>
              <a:buSzPct val="90000"/>
              <a:buFont typeface="Wingdings" charset="2"/>
              <a:buChar char="§"/>
              <a:defRPr sz="105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857250" indent="-1714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200150" indent="-1714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1543050" indent="-1714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endParaRPr lang="en-JM" dirty="0"/>
          </a:p>
        </p:txBody>
      </p:sp>
      <p:sp>
        <p:nvSpPr>
          <p:cNvPr id="17" name="Picture Placeholder 24"/>
          <p:cNvSpPr>
            <a:spLocks noGrp="1"/>
          </p:cNvSpPr>
          <p:nvPr>
            <p:ph type="pic" sz="quarter" idx="19"/>
          </p:nvPr>
        </p:nvSpPr>
        <p:spPr>
          <a:xfrm>
            <a:off x="3039980" y="2"/>
            <a:ext cx="3072063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JM"/>
          </a:p>
        </p:txBody>
      </p:sp>
      <p:sp>
        <p:nvSpPr>
          <p:cNvPr id="18" name="Picture Placeholder 24"/>
          <p:cNvSpPr>
            <a:spLocks noGrp="1"/>
          </p:cNvSpPr>
          <p:nvPr>
            <p:ph type="pic" sz="quarter" idx="20"/>
          </p:nvPr>
        </p:nvSpPr>
        <p:spPr>
          <a:xfrm>
            <a:off x="6107870" y="2"/>
            <a:ext cx="3039979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3419872" y="1851672"/>
            <a:ext cx="2322854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>
              <a:lnSpc>
                <a:spcPct val="120000"/>
              </a:lnSpc>
              <a:buClr>
                <a:srgbClr val="E21E25"/>
              </a:buClr>
              <a:buSzPct val="90000"/>
              <a:buFont typeface="Wingdings" charset="2"/>
              <a:buChar char="§"/>
              <a:defRPr sz="105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857250" indent="-1714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200150" indent="-1714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1543050" indent="-1714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endParaRPr lang="en-JM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444208" y="1851672"/>
            <a:ext cx="2261642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>
              <a:lnSpc>
                <a:spcPct val="120000"/>
              </a:lnSpc>
              <a:buClr>
                <a:srgbClr val="E21E25"/>
              </a:buClr>
              <a:buSzPct val="90000"/>
              <a:buFont typeface="Wingdings" charset="2"/>
              <a:buChar char="§"/>
              <a:defRPr sz="105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857250" indent="-1714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200150" indent="-1714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1543050" indent="-1714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endParaRPr lang="en-JM" dirty="0"/>
          </a:p>
        </p:txBody>
      </p:sp>
    </p:spTree>
    <p:extLst>
      <p:ext uri="{BB962C8B-B14F-4D97-AF65-F5344CB8AC3E}">
        <p14:creationId xmlns:p14="http://schemas.microsoft.com/office/powerpoint/2010/main" val="216578034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and Content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427039" y="1301101"/>
            <a:ext cx="3589337" cy="3268871"/>
          </a:xfrm>
          <a:prstGeom prst="rect">
            <a:avLst/>
          </a:prstGeom>
        </p:spPr>
        <p:txBody>
          <a:bodyPr/>
          <a:lstStyle/>
          <a:p>
            <a:endParaRPr lang="en-JM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288654"/>
            <a:ext cx="4041775" cy="479822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050" b="1">
                <a:solidFill>
                  <a:srgbClr val="575756"/>
                </a:solidFill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768476"/>
            <a:ext cx="4041775" cy="2823521"/>
          </a:xfrm>
          <a:prstGeom prst="rect">
            <a:avLst/>
          </a:prstGeom>
        </p:spPr>
        <p:txBody>
          <a:bodyPr/>
          <a:lstStyle>
            <a:lvl1pPr marL="257175" indent="-257175">
              <a:buClr>
                <a:srgbClr val="E21E25"/>
              </a:buClr>
              <a:buSzPct val="90000"/>
              <a:buFont typeface="Wingdings" charset="2"/>
              <a:buChar char="§"/>
              <a:defRPr sz="1050">
                <a:solidFill>
                  <a:schemeClr val="tx2"/>
                </a:solidFill>
              </a:defRPr>
            </a:lvl1pPr>
            <a:lvl2pPr marL="557213" indent="-214313">
              <a:buClr>
                <a:srgbClr val="E21E25"/>
              </a:buClr>
              <a:buSzPct val="90000"/>
              <a:buFont typeface="Wingdings" charset="2"/>
              <a:buChar char="§"/>
              <a:defRPr sz="1050">
                <a:solidFill>
                  <a:schemeClr val="tx2"/>
                </a:solidFill>
              </a:defRPr>
            </a:lvl2pPr>
            <a:lvl3pPr marL="857250" indent="-171450">
              <a:buClr>
                <a:srgbClr val="E21E25"/>
              </a:buClr>
              <a:buSzPct val="90000"/>
              <a:buFont typeface="Wingdings" charset="2"/>
              <a:buChar char="§"/>
              <a:defRPr sz="1050">
                <a:solidFill>
                  <a:schemeClr val="tx2"/>
                </a:solidFill>
              </a:defRPr>
            </a:lvl3pPr>
            <a:lvl4pPr marL="1200150" indent="-171450">
              <a:buClr>
                <a:srgbClr val="E21E25"/>
              </a:buClr>
              <a:buSzPct val="90000"/>
              <a:buFont typeface="Wingdings" charset="2"/>
              <a:buChar char="§"/>
              <a:defRPr sz="900">
                <a:solidFill>
                  <a:schemeClr val="tx2"/>
                </a:solidFill>
              </a:defRPr>
            </a:lvl4pPr>
            <a:lvl5pPr marL="1543050" indent="-171450">
              <a:buClr>
                <a:srgbClr val="E21E25"/>
              </a:buClr>
              <a:buSzPct val="90000"/>
              <a:buFont typeface="Wingdings" charset="2"/>
              <a:buChar char="§"/>
              <a:defRPr sz="900">
                <a:solidFill>
                  <a:schemeClr val="tx2"/>
                </a:solidFill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1213201" y="297000"/>
            <a:ext cx="7463300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165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0504849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/>
          <p:cNvSpPr>
            <a:spLocks noGrp="1"/>
          </p:cNvSpPr>
          <p:nvPr>
            <p:ph sz="quarter" idx="13"/>
          </p:nvPr>
        </p:nvSpPr>
        <p:spPr>
          <a:xfrm>
            <a:off x="1197114" y="1802018"/>
            <a:ext cx="7479342" cy="271394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60"/>
          </p:nvPr>
        </p:nvSpPr>
        <p:spPr>
          <a:xfrm>
            <a:off x="1197114" y="1347614"/>
            <a:ext cx="7479342" cy="36004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6623342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and Content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2"/>
            <a:ext cx="3505200" cy="51434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tabLst>
                <a:tab pos="2219325" algn="l"/>
              </a:tabLst>
              <a:defRPr sz="12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endParaRPr lang="en-JM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067946" y="843558"/>
            <a:ext cx="4618855" cy="3048000"/>
          </a:xfrm>
          <a:prstGeom prst="rect">
            <a:avLst/>
          </a:prstGeom>
        </p:spPr>
        <p:txBody>
          <a:bodyPr>
            <a:normAutofit/>
          </a:bodyPr>
          <a:lstStyle>
            <a:lvl1pPr marL="257175" indent="-257175">
              <a:lnSpc>
                <a:spcPct val="120000"/>
              </a:lnSpc>
              <a:buClr>
                <a:srgbClr val="E21E25"/>
              </a:buClr>
              <a:buSzPct val="90000"/>
              <a:buFont typeface="Wingdings" charset="2"/>
              <a:buChar char="§"/>
              <a:defRPr sz="105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857250" indent="-1714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200150" indent="-1714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1543050" indent="-1714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endParaRPr lang="en-JM" dirty="0"/>
          </a:p>
        </p:txBody>
      </p:sp>
      <p:sp>
        <p:nvSpPr>
          <p:cNvPr id="6" name="Rectangle 5"/>
          <p:cNvSpPr/>
          <p:nvPr userDrawn="1"/>
        </p:nvSpPr>
        <p:spPr>
          <a:xfrm>
            <a:off x="5580112" y="4711303"/>
            <a:ext cx="1584176" cy="738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350"/>
          </a:p>
        </p:txBody>
      </p:sp>
      <p:sp>
        <p:nvSpPr>
          <p:cNvPr id="7" name="Rectangle 6"/>
          <p:cNvSpPr/>
          <p:nvPr userDrawn="1"/>
        </p:nvSpPr>
        <p:spPr>
          <a:xfrm>
            <a:off x="7164288" y="4711304"/>
            <a:ext cx="1586308" cy="73818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350"/>
          </a:p>
        </p:txBody>
      </p:sp>
      <p:sp>
        <p:nvSpPr>
          <p:cNvPr id="2" name="Rectangle 1"/>
          <p:cNvSpPr/>
          <p:nvPr userDrawn="1"/>
        </p:nvSpPr>
        <p:spPr>
          <a:xfrm>
            <a:off x="395536" y="4711303"/>
            <a:ext cx="8355060" cy="738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350"/>
          </a:p>
        </p:txBody>
      </p:sp>
      <p:sp>
        <p:nvSpPr>
          <p:cNvPr id="8" name="Rectangle 7"/>
          <p:cNvSpPr/>
          <p:nvPr userDrawn="1"/>
        </p:nvSpPr>
        <p:spPr>
          <a:xfrm>
            <a:off x="4220344" y="4825605"/>
            <a:ext cx="1512168" cy="7322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350"/>
          </a:p>
        </p:txBody>
      </p:sp>
      <p:sp>
        <p:nvSpPr>
          <p:cNvPr id="9" name="Rectangle 8"/>
          <p:cNvSpPr/>
          <p:nvPr userDrawn="1"/>
        </p:nvSpPr>
        <p:spPr>
          <a:xfrm>
            <a:off x="5732512" y="4825603"/>
            <a:ext cx="1584176" cy="738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350"/>
          </a:p>
        </p:txBody>
      </p:sp>
      <p:sp>
        <p:nvSpPr>
          <p:cNvPr id="10" name="Rectangle 9"/>
          <p:cNvSpPr/>
          <p:nvPr userDrawn="1"/>
        </p:nvSpPr>
        <p:spPr>
          <a:xfrm>
            <a:off x="7316688" y="4825604"/>
            <a:ext cx="1586308" cy="73818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350"/>
          </a:p>
        </p:txBody>
      </p:sp>
    </p:spTree>
    <p:extLst>
      <p:ext uri="{BB962C8B-B14F-4D97-AF65-F5344CB8AC3E}">
        <p14:creationId xmlns:p14="http://schemas.microsoft.com/office/powerpoint/2010/main" val="133536642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214755"/>
            <a:ext cx="9144000" cy="3928745"/>
          </a:xfrm>
          <a:prstGeom prst="rect">
            <a:avLst/>
          </a:prstGeom>
        </p:spPr>
        <p:txBody>
          <a:bodyPr/>
          <a:lstStyle/>
          <a:p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213201" y="297000"/>
            <a:ext cx="7463300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165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90870964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35496" y="1350150"/>
            <a:ext cx="4464496" cy="3273828"/>
          </a:xfrm>
          <a:prstGeom prst="rect">
            <a:avLst/>
          </a:prstGeom>
        </p:spPr>
        <p:txBody>
          <a:bodyPr/>
          <a:lstStyle/>
          <a:p>
            <a:endParaRPr lang="en-JM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4499992" y="1350150"/>
            <a:ext cx="4644008" cy="3273828"/>
          </a:xfrm>
          <a:prstGeom prst="rect">
            <a:avLst/>
          </a:prstGeom>
        </p:spPr>
        <p:txBody>
          <a:bodyPr/>
          <a:lstStyle/>
          <a:p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1213201" y="297000"/>
            <a:ext cx="7463300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165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84279093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155633" y="123479"/>
            <a:ext cx="3330575" cy="2088232"/>
          </a:xfrm>
          <a:prstGeom prst="rect">
            <a:avLst/>
          </a:prstGeom>
        </p:spPr>
        <p:txBody>
          <a:bodyPr/>
          <a:lstStyle/>
          <a:p>
            <a:endParaRPr lang="en-JM" dirty="0"/>
          </a:p>
        </p:txBody>
      </p:sp>
      <p:sp>
        <p:nvSpPr>
          <p:cNvPr id="4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155633" y="2355727"/>
            <a:ext cx="3330575" cy="2232248"/>
          </a:xfrm>
          <a:prstGeom prst="rect">
            <a:avLst/>
          </a:prstGeom>
        </p:spPr>
        <p:txBody>
          <a:bodyPr/>
          <a:lstStyle/>
          <a:p>
            <a:endParaRPr lang="en-JM" dirty="0"/>
          </a:p>
        </p:txBody>
      </p:sp>
      <p:sp>
        <p:nvSpPr>
          <p:cNvPr id="5" name="Picture Placeholder 16"/>
          <p:cNvSpPr>
            <a:spLocks noGrp="1"/>
          </p:cNvSpPr>
          <p:nvPr>
            <p:ph type="pic" sz="quarter" idx="61"/>
          </p:nvPr>
        </p:nvSpPr>
        <p:spPr>
          <a:xfrm>
            <a:off x="3633539" y="123479"/>
            <a:ext cx="2714782" cy="4464496"/>
          </a:xfrm>
          <a:prstGeom prst="rect">
            <a:avLst/>
          </a:prstGeom>
        </p:spPr>
        <p:txBody>
          <a:bodyPr/>
          <a:lstStyle/>
          <a:p>
            <a:endParaRPr lang="en-JM" dirty="0"/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62"/>
          </p:nvPr>
        </p:nvSpPr>
        <p:spPr>
          <a:xfrm>
            <a:off x="6492337" y="123479"/>
            <a:ext cx="2538487" cy="1368152"/>
          </a:xfrm>
          <a:prstGeom prst="rect">
            <a:avLst/>
          </a:prstGeom>
        </p:spPr>
        <p:txBody>
          <a:bodyPr/>
          <a:lstStyle/>
          <a:p>
            <a:endParaRPr lang="en-JM" dirty="0"/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63"/>
          </p:nvPr>
        </p:nvSpPr>
        <p:spPr>
          <a:xfrm>
            <a:off x="6492337" y="1635648"/>
            <a:ext cx="2538487" cy="1440160"/>
          </a:xfrm>
          <a:prstGeom prst="rect">
            <a:avLst/>
          </a:prstGeom>
        </p:spPr>
        <p:txBody>
          <a:bodyPr/>
          <a:lstStyle/>
          <a:p>
            <a:endParaRPr lang="en-JM" dirty="0"/>
          </a:p>
        </p:txBody>
      </p:sp>
      <p:sp>
        <p:nvSpPr>
          <p:cNvPr id="8" name="Picture Placeholder 16"/>
          <p:cNvSpPr>
            <a:spLocks noGrp="1"/>
          </p:cNvSpPr>
          <p:nvPr>
            <p:ph type="pic" sz="quarter" idx="64"/>
          </p:nvPr>
        </p:nvSpPr>
        <p:spPr>
          <a:xfrm>
            <a:off x="6492337" y="3219823"/>
            <a:ext cx="2538487" cy="1368152"/>
          </a:xfrm>
          <a:prstGeom prst="rect">
            <a:avLst/>
          </a:prstGeom>
        </p:spPr>
        <p:txBody>
          <a:bodyPr/>
          <a:lstStyle/>
          <a:p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15696292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/>
          <a:lstStyle/>
          <a:p>
            <a:endParaRPr lang="en-JM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0" y="2859782"/>
            <a:ext cx="9144000" cy="43204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1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2" name="Rectangle 1"/>
          <p:cNvSpPr/>
          <p:nvPr userDrawn="1"/>
        </p:nvSpPr>
        <p:spPr>
          <a:xfrm>
            <a:off x="428626" y="4711305"/>
            <a:ext cx="2757488" cy="7381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350"/>
          </a:p>
        </p:txBody>
      </p:sp>
      <p:sp>
        <p:nvSpPr>
          <p:cNvPr id="5" name="Rectangle 4"/>
          <p:cNvSpPr/>
          <p:nvPr userDrawn="1"/>
        </p:nvSpPr>
        <p:spPr>
          <a:xfrm>
            <a:off x="3184054" y="4711304"/>
            <a:ext cx="2757488" cy="738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350"/>
          </a:p>
        </p:txBody>
      </p:sp>
      <p:sp>
        <p:nvSpPr>
          <p:cNvPr id="6" name="Rectangle 5"/>
          <p:cNvSpPr/>
          <p:nvPr userDrawn="1"/>
        </p:nvSpPr>
        <p:spPr>
          <a:xfrm>
            <a:off x="5941543" y="4711304"/>
            <a:ext cx="2757488" cy="73819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35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514" y="141481"/>
            <a:ext cx="1096414" cy="756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98357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R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/>
          <a:lstStyle/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2392681" y="2300401"/>
            <a:ext cx="6243320" cy="636587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2394000" y="2937600"/>
            <a:ext cx="623316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350">
                <a:solidFill>
                  <a:srgbClr val="FFFFFF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D559CD6-4902-B147-8A07-49F51C0434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68999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1205136" y="1347614"/>
            <a:ext cx="7399312" cy="31683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84069134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7114" y="1347614"/>
            <a:ext cx="7399312" cy="3185146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420688" y="4826858"/>
            <a:ext cx="2133600" cy="273844"/>
          </a:xfrm>
        </p:spPr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28775244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14586" y="1347614"/>
            <a:ext cx="4040188" cy="35555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414586" y="1703165"/>
            <a:ext cx="4040188" cy="281496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347614"/>
            <a:ext cx="4041775" cy="35555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703165"/>
            <a:ext cx="4041775" cy="281496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27273187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3"/>
          <p:cNvSpPr>
            <a:spLocks noGrp="1"/>
          </p:cNvSpPr>
          <p:nvPr>
            <p:ph sz="quarter" idx="13"/>
          </p:nvPr>
        </p:nvSpPr>
        <p:spPr>
          <a:xfrm>
            <a:off x="433136" y="1716505"/>
            <a:ext cx="2482680" cy="29121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3312694" y="1708484"/>
            <a:ext cx="2482680" cy="29121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5"/>
          </p:nvPr>
        </p:nvSpPr>
        <p:spPr>
          <a:xfrm>
            <a:off x="6216315" y="1716505"/>
            <a:ext cx="2482680" cy="290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43336" y="1419622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322894" y="1419623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226515" y="1419622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 baseline="0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2189557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7763" y="1152843"/>
            <a:ext cx="7442200" cy="655637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3159" y="1939290"/>
            <a:ext cx="7436803" cy="63119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5" name="Slide Number Placeholder 2"/>
          <p:cNvSpPr txBox="1">
            <a:spLocks/>
          </p:cNvSpPr>
          <p:nvPr userDrawn="1"/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2D2AFC-71C4-4511-B128-4ECEE52D3027}" type="slidenum">
              <a:rPr kumimoji="0" lang="en-ZA" sz="800" b="0" i="0" u="none" strike="noStrike" kern="1200" cap="none" spc="0" normalizeH="0" baseline="0" noProof="0" smtClean="0">
                <a:ln>
                  <a:noFill/>
                </a:ln>
                <a:solidFill>
                  <a:srgbClr val="5C5C5C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800" b="0" i="0" u="none" strike="noStrike" kern="1200" cap="none" spc="0" normalizeH="0" baseline="0" noProof="0" dirty="0">
              <a:ln>
                <a:noFill/>
              </a:ln>
              <a:solidFill>
                <a:srgbClr val="5C5C5C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2"/>
          <p:cNvSpPr txBox="1">
            <a:spLocks/>
          </p:cNvSpPr>
          <p:nvPr userDrawn="1"/>
        </p:nvSpPr>
        <p:spPr>
          <a:xfrm>
            <a:off x="7812360" y="4805048"/>
            <a:ext cx="98607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967667086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and Content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39979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27038" y="1851670"/>
            <a:ext cx="2322854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Picture Placeholder 24"/>
          <p:cNvSpPr>
            <a:spLocks noGrp="1"/>
          </p:cNvSpPr>
          <p:nvPr>
            <p:ph type="pic" sz="quarter" idx="19"/>
          </p:nvPr>
        </p:nvSpPr>
        <p:spPr>
          <a:xfrm>
            <a:off x="3039979" y="0"/>
            <a:ext cx="3072063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18" name="Picture Placeholder 24"/>
          <p:cNvSpPr>
            <a:spLocks noGrp="1"/>
          </p:cNvSpPr>
          <p:nvPr>
            <p:ph type="pic" sz="quarter" idx="20"/>
          </p:nvPr>
        </p:nvSpPr>
        <p:spPr>
          <a:xfrm>
            <a:off x="6107868" y="0"/>
            <a:ext cx="3039979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3419872" y="1851670"/>
            <a:ext cx="2322854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444208" y="1851670"/>
            <a:ext cx="2261642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184171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and Content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505200" cy="51434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tabLst>
                <a:tab pos="2959100" algn="l"/>
              </a:tabLst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067944" y="843558"/>
            <a:ext cx="4618855" cy="30480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20000"/>
              </a:lnSpc>
              <a:buClr>
                <a:srgbClr val="E30613"/>
              </a:buClr>
              <a:buSzPct val="90000"/>
              <a:buFont typeface="Wingdings" charset="2"/>
              <a:buChar char="§"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95536" y="4659982"/>
            <a:ext cx="8352928" cy="1440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5" name="Rectangle 4"/>
          <p:cNvSpPr/>
          <p:nvPr userDrawn="1"/>
        </p:nvSpPr>
        <p:spPr>
          <a:xfrm>
            <a:off x="4067174" y="4711700"/>
            <a:ext cx="1512887" cy="714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6" name="Rectangle 5"/>
          <p:cNvSpPr/>
          <p:nvPr userDrawn="1"/>
        </p:nvSpPr>
        <p:spPr>
          <a:xfrm>
            <a:off x="5580062" y="4711700"/>
            <a:ext cx="1595437" cy="71438"/>
          </a:xfrm>
          <a:prstGeom prst="rect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7" name="Rectangle 6"/>
          <p:cNvSpPr/>
          <p:nvPr userDrawn="1"/>
        </p:nvSpPr>
        <p:spPr>
          <a:xfrm>
            <a:off x="7164387" y="4711700"/>
            <a:ext cx="1600423" cy="71438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6947604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253250"/>
            <a:ext cx="4572000" cy="38902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4572000" y="1253250"/>
            <a:ext cx="4572000" cy="38902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18451142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155631" y="123478"/>
            <a:ext cx="3330575" cy="20882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155631" y="2355726"/>
            <a:ext cx="3330575" cy="223224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5" name="Picture Placeholder 16"/>
          <p:cNvSpPr>
            <a:spLocks noGrp="1"/>
          </p:cNvSpPr>
          <p:nvPr>
            <p:ph type="pic" sz="quarter" idx="61"/>
          </p:nvPr>
        </p:nvSpPr>
        <p:spPr>
          <a:xfrm>
            <a:off x="3633538" y="123478"/>
            <a:ext cx="2714782" cy="44644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62"/>
          </p:nvPr>
        </p:nvSpPr>
        <p:spPr>
          <a:xfrm>
            <a:off x="6492335" y="123478"/>
            <a:ext cx="2538487" cy="1368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63"/>
          </p:nvPr>
        </p:nvSpPr>
        <p:spPr>
          <a:xfrm>
            <a:off x="6492335" y="1635646"/>
            <a:ext cx="2538487" cy="1440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8" name="Picture Placeholder 16"/>
          <p:cNvSpPr>
            <a:spLocks noGrp="1"/>
          </p:cNvSpPr>
          <p:nvPr>
            <p:ph type="pic" sz="quarter" idx="64"/>
          </p:nvPr>
        </p:nvSpPr>
        <p:spPr>
          <a:xfrm>
            <a:off x="6492335" y="3219822"/>
            <a:ext cx="2538487" cy="1368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51185951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253250"/>
            <a:ext cx="9144000" cy="389024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86688442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Ba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13"/>
          <p:cNvSpPr>
            <a:spLocks noGrp="1"/>
          </p:cNvSpPr>
          <p:nvPr>
            <p:ph sz="quarter" idx="13"/>
          </p:nvPr>
        </p:nvSpPr>
        <p:spPr>
          <a:xfrm>
            <a:off x="422895" y="2025030"/>
            <a:ext cx="2362200" cy="226695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8"/>
          <p:cNvSpPr>
            <a:spLocks noGrp="1"/>
          </p:cNvSpPr>
          <p:nvPr>
            <p:ph sz="quarter" idx="39"/>
          </p:nvPr>
        </p:nvSpPr>
        <p:spPr>
          <a:xfrm>
            <a:off x="422895" y="1491630"/>
            <a:ext cx="1984248" cy="347472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400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42"/>
          </p:nvPr>
        </p:nvSpPr>
        <p:spPr>
          <a:xfrm>
            <a:off x="3361928" y="2025030"/>
            <a:ext cx="2362200" cy="226695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13"/>
          <p:cNvSpPr>
            <a:spLocks noGrp="1"/>
          </p:cNvSpPr>
          <p:nvPr>
            <p:ph sz="quarter" idx="43"/>
          </p:nvPr>
        </p:nvSpPr>
        <p:spPr>
          <a:xfrm>
            <a:off x="6324600" y="2034555"/>
            <a:ext cx="2362200" cy="226695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8"/>
          <p:cNvSpPr>
            <a:spLocks noGrp="1"/>
          </p:cNvSpPr>
          <p:nvPr>
            <p:ph sz="quarter" idx="60"/>
          </p:nvPr>
        </p:nvSpPr>
        <p:spPr>
          <a:xfrm>
            <a:off x="3361928" y="1491630"/>
            <a:ext cx="1984248" cy="347472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400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Content Placeholder 38"/>
          <p:cNvSpPr>
            <a:spLocks noGrp="1"/>
          </p:cNvSpPr>
          <p:nvPr>
            <p:ph sz="quarter" idx="61"/>
          </p:nvPr>
        </p:nvSpPr>
        <p:spPr>
          <a:xfrm>
            <a:off x="6324600" y="1501155"/>
            <a:ext cx="1984248" cy="347472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400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3059832" y="1841361"/>
            <a:ext cx="0" cy="17526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6012160" y="1850886"/>
            <a:ext cx="0" cy="17526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24747956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Lin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3"/>
          <p:cNvSpPr>
            <a:spLocks noGrp="1"/>
          </p:cNvSpPr>
          <p:nvPr>
            <p:ph sz="quarter" idx="13"/>
          </p:nvPr>
        </p:nvSpPr>
        <p:spPr>
          <a:xfrm>
            <a:off x="427038" y="1347614"/>
            <a:ext cx="8249418" cy="309634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1918820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/>
          <p:cNvSpPr>
            <a:spLocks noGrp="1"/>
          </p:cNvSpPr>
          <p:nvPr>
            <p:ph sz="quarter" idx="13"/>
          </p:nvPr>
        </p:nvSpPr>
        <p:spPr>
          <a:xfrm>
            <a:off x="1197114" y="1802018"/>
            <a:ext cx="7479342" cy="271394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60"/>
          </p:nvPr>
        </p:nvSpPr>
        <p:spPr>
          <a:xfrm>
            <a:off x="1197114" y="1347614"/>
            <a:ext cx="7479342" cy="36004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7002538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R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/>
          <a:lstStyle/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2392680" y="2210400"/>
            <a:ext cx="6243320" cy="636587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2394000" y="2847600"/>
            <a:ext cx="623316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4964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1045859" y="938012"/>
            <a:ext cx="7594957" cy="37935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83417" y="48688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68CB58-766F-413B-8D6F-8EFF102E1BA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5397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83417" y="48688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68CB58-766F-413B-8D6F-8EFF102E1BA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55096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68CB58-766F-413B-8D6F-8EFF102E1BA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2281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PPL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2966718" cy="1960880"/>
          </a:xfrm>
        </p:spPr>
        <p:txBody>
          <a:bodyPr/>
          <a:lstStyle/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955712" y="0"/>
            <a:ext cx="3148756" cy="1960880"/>
          </a:xfrm>
        </p:spPr>
        <p:txBody>
          <a:bodyPr/>
          <a:lstStyle/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85839" y="0"/>
            <a:ext cx="3058161" cy="1960880"/>
          </a:xfrm>
        </p:spPr>
        <p:txBody>
          <a:bodyPr/>
          <a:lstStyle/>
          <a:p>
            <a:r>
              <a:rPr lang="en-GB"/>
              <a:t>Drag picture to placeholder or click icon to add</a:t>
            </a:r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73941" y="2265680"/>
            <a:ext cx="2497224" cy="219519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3309259" y="2265680"/>
            <a:ext cx="2497224" cy="219519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085839" y="2265680"/>
            <a:ext cx="2497224" cy="2195195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07004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1205136" y="1347614"/>
            <a:ext cx="7399312" cy="31683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310616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7114" y="1347614"/>
            <a:ext cx="7399312" cy="3185146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420688" y="4826858"/>
            <a:ext cx="2133600" cy="273844"/>
          </a:xfrm>
        </p:spPr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132593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7114" y="1347614"/>
            <a:ext cx="7399312" cy="3185146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420688" y="4826858"/>
            <a:ext cx="2133600" cy="273844"/>
          </a:xfrm>
        </p:spPr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6" name="Slide Number Placeholder 2"/>
          <p:cNvSpPr txBox="1">
            <a:spLocks/>
          </p:cNvSpPr>
          <p:nvPr userDrawn="1"/>
        </p:nvSpPr>
        <p:spPr>
          <a:xfrm>
            <a:off x="7812360" y="4805048"/>
            <a:ext cx="98607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8455632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14586" y="1424111"/>
            <a:ext cx="4040188" cy="35555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414586" y="1779662"/>
            <a:ext cx="4040188" cy="281496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424111"/>
            <a:ext cx="4041775" cy="35555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779662"/>
            <a:ext cx="4041775" cy="281496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0987945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3"/>
          <p:cNvSpPr>
            <a:spLocks noGrp="1"/>
          </p:cNvSpPr>
          <p:nvPr>
            <p:ph sz="quarter" idx="13"/>
          </p:nvPr>
        </p:nvSpPr>
        <p:spPr>
          <a:xfrm>
            <a:off x="433136" y="1747865"/>
            <a:ext cx="2482680" cy="29121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3312694" y="1739844"/>
            <a:ext cx="2482680" cy="29121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5"/>
          </p:nvPr>
        </p:nvSpPr>
        <p:spPr>
          <a:xfrm>
            <a:off x="6216315" y="1747865"/>
            <a:ext cx="2482680" cy="290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43336" y="1450982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322894" y="1450983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226515" y="1450982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 baseline="0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2666156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and Content 0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39979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27038" y="1851670"/>
            <a:ext cx="2322854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Picture Placeholder 24"/>
          <p:cNvSpPr>
            <a:spLocks noGrp="1"/>
          </p:cNvSpPr>
          <p:nvPr>
            <p:ph type="pic" sz="quarter" idx="19"/>
          </p:nvPr>
        </p:nvSpPr>
        <p:spPr>
          <a:xfrm>
            <a:off x="3039979" y="0"/>
            <a:ext cx="3072063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18" name="Picture Placeholder 24"/>
          <p:cNvSpPr>
            <a:spLocks noGrp="1"/>
          </p:cNvSpPr>
          <p:nvPr>
            <p:ph type="pic" sz="quarter" idx="20"/>
          </p:nvPr>
        </p:nvSpPr>
        <p:spPr>
          <a:xfrm>
            <a:off x="6107868" y="0"/>
            <a:ext cx="3039979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3419872" y="1851670"/>
            <a:ext cx="2322854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444208" y="1851670"/>
            <a:ext cx="2261642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49507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and Content 0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505200" cy="51434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tabLst>
                <a:tab pos="2959100" algn="l"/>
              </a:tabLst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067944" y="843558"/>
            <a:ext cx="4618855" cy="30480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20000"/>
              </a:lnSpc>
              <a:buClr>
                <a:srgbClr val="E30613"/>
              </a:buClr>
              <a:buSzPct val="90000"/>
              <a:buFont typeface="Wingdings" charset="2"/>
              <a:buChar char="§"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95536" y="4659982"/>
            <a:ext cx="8352928" cy="1440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067174" y="4711700"/>
            <a:ext cx="1512887" cy="714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580062" y="4711700"/>
            <a:ext cx="1595437" cy="71438"/>
          </a:xfrm>
          <a:prstGeom prst="rect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164387" y="4711700"/>
            <a:ext cx="1600423" cy="71438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1387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0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253250"/>
            <a:ext cx="9144000" cy="389024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15130161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0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347614"/>
            <a:ext cx="4644008" cy="37958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4572000" y="1347614"/>
            <a:ext cx="4644008" cy="37958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941411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03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155631" y="123478"/>
            <a:ext cx="3330575" cy="20882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155631" y="2355726"/>
            <a:ext cx="3330575" cy="223224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5" name="Picture Placeholder 16"/>
          <p:cNvSpPr>
            <a:spLocks noGrp="1"/>
          </p:cNvSpPr>
          <p:nvPr>
            <p:ph type="pic" sz="quarter" idx="61"/>
          </p:nvPr>
        </p:nvSpPr>
        <p:spPr>
          <a:xfrm>
            <a:off x="3633538" y="123478"/>
            <a:ext cx="2714782" cy="44644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62"/>
          </p:nvPr>
        </p:nvSpPr>
        <p:spPr>
          <a:xfrm>
            <a:off x="6492335" y="123478"/>
            <a:ext cx="2538487" cy="1368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63"/>
          </p:nvPr>
        </p:nvSpPr>
        <p:spPr>
          <a:xfrm>
            <a:off x="6492335" y="1635646"/>
            <a:ext cx="2538487" cy="1440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8" name="Picture Placeholder 16"/>
          <p:cNvSpPr>
            <a:spLocks noGrp="1"/>
          </p:cNvSpPr>
          <p:nvPr>
            <p:ph type="pic" sz="quarter" idx="64"/>
          </p:nvPr>
        </p:nvSpPr>
        <p:spPr>
          <a:xfrm>
            <a:off x="6492335" y="3219822"/>
            <a:ext cx="2538487" cy="1368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04476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1205136" y="1347614"/>
            <a:ext cx="7399312" cy="31683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70425307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7114" y="1347614"/>
            <a:ext cx="7399312" cy="3185146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420688" y="4826858"/>
            <a:ext cx="2133600" cy="273844"/>
          </a:xfrm>
        </p:spPr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3510893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14586" y="1424111"/>
            <a:ext cx="4040188" cy="35555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414586" y="1779662"/>
            <a:ext cx="4040188" cy="281496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424111"/>
            <a:ext cx="4041775" cy="35555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779662"/>
            <a:ext cx="4041775" cy="281496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0846548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14586" y="1347614"/>
            <a:ext cx="4040188" cy="35555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414586" y="1703165"/>
            <a:ext cx="4040188" cy="281496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347614"/>
            <a:ext cx="4041775" cy="35555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703165"/>
            <a:ext cx="4041775" cy="281496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3487786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3"/>
          <p:cNvSpPr>
            <a:spLocks noGrp="1"/>
          </p:cNvSpPr>
          <p:nvPr>
            <p:ph sz="quarter" idx="13"/>
          </p:nvPr>
        </p:nvSpPr>
        <p:spPr>
          <a:xfrm>
            <a:off x="433136" y="1747865"/>
            <a:ext cx="2482680" cy="29121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3312694" y="1739844"/>
            <a:ext cx="2482680" cy="29121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5"/>
          </p:nvPr>
        </p:nvSpPr>
        <p:spPr>
          <a:xfrm>
            <a:off x="6216315" y="1747865"/>
            <a:ext cx="2482680" cy="290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43336" y="1450982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322894" y="1450983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226515" y="1450982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 baseline="0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784165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and Content 0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39979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27038" y="1851670"/>
            <a:ext cx="2322854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Picture Placeholder 24"/>
          <p:cNvSpPr>
            <a:spLocks noGrp="1"/>
          </p:cNvSpPr>
          <p:nvPr>
            <p:ph type="pic" sz="quarter" idx="19"/>
          </p:nvPr>
        </p:nvSpPr>
        <p:spPr>
          <a:xfrm>
            <a:off x="3039979" y="0"/>
            <a:ext cx="3072063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18" name="Picture Placeholder 24"/>
          <p:cNvSpPr>
            <a:spLocks noGrp="1"/>
          </p:cNvSpPr>
          <p:nvPr>
            <p:ph type="pic" sz="quarter" idx="20"/>
          </p:nvPr>
        </p:nvSpPr>
        <p:spPr>
          <a:xfrm>
            <a:off x="6107868" y="0"/>
            <a:ext cx="3039979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3419872" y="1851670"/>
            <a:ext cx="2322854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444208" y="1851670"/>
            <a:ext cx="2261642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2212451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and Content 0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505200" cy="51434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tabLst>
                <a:tab pos="2959100" algn="l"/>
              </a:tabLst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067944" y="843558"/>
            <a:ext cx="4618855" cy="30480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20000"/>
              </a:lnSpc>
              <a:buClr>
                <a:srgbClr val="E30613"/>
              </a:buClr>
              <a:buSzPct val="90000"/>
              <a:buFont typeface="Wingdings" charset="2"/>
              <a:buChar char="§"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95536" y="4659982"/>
            <a:ext cx="8352928" cy="1440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067174" y="4711700"/>
            <a:ext cx="1512887" cy="714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580062" y="4711700"/>
            <a:ext cx="1595437" cy="71438"/>
          </a:xfrm>
          <a:prstGeom prst="rect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164387" y="4711700"/>
            <a:ext cx="1600423" cy="71438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989377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0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253250"/>
            <a:ext cx="9144000" cy="389024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23997260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0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347614"/>
            <a:ext cx="4644008" cy="37958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4572000" y="1347614"/>
            <a:ext cx="4644008" cy="37958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8762831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03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155631" y="123478"/>
            <a:ext cx="3330575" cy="20882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155631" y="2355726"/>
            <a:ext cx="3330575" cy="223224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5" name="Picture Placeholder 16"/>
          <p:cNvSpPr>
            <a:spLocks noGrp="1"/>
          </p:cNvSpPr>
          <p:nvPr>
            <p:ph type="pic" sz="quarter" idx="61"/>
          </p:nvPr>
        </p:nvSpPr>
        <p:spPr>
          <a:xfrm>
            <a:off x="3633538" y="123478"/>
            <a:ext cx="2714782" cy="44644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62"/>
          </p:nvPr>
        </p:nvSpPr>
        <p:spPr>
          <a:xfrm>
            <a:off x="6492335" y="123478"/>
            <a:ext cx="2538487" cy="1368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63"/>
          </p:nvPr>
        </p:nvSpPr>
        <p:spPr>
          <a:xfrm>
            <a:off x="6492335" y="1635646"/>
            <a:ext cx="2538487" cy="1440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8" name="Picture Placeholder 16"/>
          <p:cNvSpPr>
            <a:spLocks noGrp="1"/>
          </p:cNvSpPr>
          <p:nvPr>
            <p:ph type="pic" sz="quarter" idx="64"/>
          </p:nvPr>
        </p:nvSpPr>
        <p:spPr>
          <a:xfrm>
            <a:off x="6492335" y="3219822"/>
            <a:ext cx="2538487" cy="1368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3797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1205136" y="1347615"/>
            <a:ext cx="7399312" cy="31683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4843085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7114" y="1347615"/>
            <a:ext cx="7399312" cy="3185146"/>
          </a:xfrm>
          <a:prstGeom prst="rect">
            <a:avLst/>
          </a:prstGeom>
        </p:spPr>
        <p:txBody>
          <a:bodyPr/>
          <a:lstStyle>
            <a:lvl1pPr marL="342892" indent="-3428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 marL="742931" indent="-285743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2pPr>
            <a:lvl3pPr marL="1142972" indent="-228594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3pPr>
            <a:lvl4pPr marL="1600160" indent="-228594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4pPr>
            <a:lvl5pPr marL="2057348" indent="-228594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420688" y="4826859"/>
            <a:ext cx="2133600" cy="273844"/>
          </a:xfrm>
        </p:spPr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49639443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14587" y="1424111"/>
            <a:ext cx="4040188" cy="35555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414587" y="1779662"/>
            <a:ext cx="4040188" cy="2814960"/>
          </a:xfrm>
          <a:prstGeom prst="rect">
            <a:avLst/>
          </a:prstGeom>
        </p:spPr>
        <p:txBody>
          <a:bodyPr/>
          <a:lstStyle>
            <a:lvl1pPr marL="342892" indent="-342892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1pPr>
            <a:lvl2pPr marL="742931" indent="-285743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2972" indent="-228594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160" indent="-228594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348" indent="-228594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424111"/>
            <a:ext cx="4041775" cy="35555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779662"/>
            <a:ext cx="4041775" cy="2814960"/>
          </a:xfrm>
          <a:prstGeom prst="rect">
            <a:avLst/>
          </a:prstGeom>
        </p:spPr>
        <p:txBody>
          <a:bodyPr/>
          <a:lstStyle>
            <a:lvl1pPr marL="342892" indent="-342892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1pPr>
            <a:lvl2pPr marL="742931" indent="-285743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2972" indent="-228594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160" indent="-228594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348" indent="-228594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79237906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3"/>
          <p:cNvSpPr>
            <a:spLocks noGrp="1"/>
          </p:cNvSpPr>
          <p:nvPr>
            <p:ph sz="quarter" idx="13"/>
          </p:nvPr>
        </p:nvSpPr>
        <p:spPr>
          <a:xfrm>
            <a:off x="433136" y="1747866"/>
            <a:ext cx="2482680" cy="29121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3312694" y="1739845"/>
            <a:ext cx="2482680" cy="29121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5"/>
          </p:nvPr>
        </p:nvSpPr>
        <p:spPr>
          <a:xfrm>
            <a:off x="6216315" y="1747865"/>
            <a:ext cx="2482680" cy="290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43336" y="1450983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322894" y="1450983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226515" y="1450983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 baseline="0">
                <a:solidFill>
                  <a:srgbClr val="575756"/>
                </a:solidFill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319775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3"/>
          <p:cNvSpPr>
            <a:spLocks noGrp="1"/>
          </p:cNvSpPr>
          <p:nvPr>
            <p:ph sz="quarter" idx="13"/>
          </p:nvPr>
        </p:nvSpPr>
        <p:spPr>
          <a:xfrm>
            <a:off x="433136" y="1716505"/>
            <a:ext cx="2482680" cy="29121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3312694" y="1708484"/>
            <a:ext cx="2482680" cy="29121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5"/>
          </p:nvPr>
        </p:nvSpPr>
        <p:spPr>
          <a:xfrm>
            <a:off x="6216315" y="1716505"/>
            <a:ext cx="2482680" cy="290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43336" y="1419622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322894" y="1419623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226515" y="1419622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 baseline="0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32118936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and Content 0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1" y="1"/>
            <a:ext cx="3039979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27039" y="1851671"/>
            <a:ext cx="2322854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31" indent="-285743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2972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160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348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Picture Placeholder 24"/>
          <p:cNvSpPr>
            <a:spLocks noGrp="1"/>
          </p:cNvSpPr>
          <p:nvPr>
            <p:ph type="pic" sz="quarter" idx="19"/>
          </p:nvPr>
        </p:nvSpPr>
        <p:spPr>
          <a:xfrm>
            <a:off x="3039980" y="1"/>
            <a:ext cx="3072063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18" name="Picture Placeholder 24"/>
          <p:cNvSpPr>
            <a:spLocks noGrp="1"/>
          </p:cNvSpPr>
          <p:nvPr>
            <p:ph type="pic" sz="quarter" idx="20"/>
          </p:nvPr>
        </p:nvSpPr>
        <p:spPr>
          <a:xfrm>
            <a:off x="6107869" y="1"/>
            <a:ext cx="3039979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3419872" y="1851671"/>
            <a:ext cx="2322854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31" indent="-285743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2972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160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348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444208" y="1851671"/>
            <a:ext cx="2261642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31" indent="-285743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2972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160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348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387724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and Content 0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3505200" cy="51434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tabLst>
                <a:tab pos="2959026" algn="l"/>
              </a:tabLst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067945" y="843558"/>
            <a:ext cx="4618855" cy="3048000"/>
          </a:xfrm>
          <a:prstGeom prst="rect">
            <a:avLst/>
          </a:prstGeom>
        </p:spPr>
        <p:txBody>
          <a:bodyPr>
            <a:normAutofit/>
          </a:bodyPr>
          <a:lstStyle>
            <a:lvl1pPr marL="342892" indent="-342892">
              <a:lnSpc>
                <a:spcPct val="120000"/>
              </a:lnSpc>
              <a:buClr>
                <a:srgbClr val="E30613"/>
              </a:buClr>
              <a:buSzPct val="90000"/>
              <a:buFont typeface="Wingdings" charset="2"/>
              <a:buChar char="§"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31" indent="-285743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2972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160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348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95537" y="4659983"/>
            <a:ext cx="8352928" cy="1440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8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067175" y="4711701"/>
            <a:ext cx="1512887" cy="714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8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580063" y="4711701"/>
            <a:ext cx="1595437" cy="71438"/>
          </a:xfrm>
          <a:prstGeom prst="rect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8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164388" y="4711701"/>
            <a:ext cx="1600423" cy="71438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80639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0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253251"/>
            <a:ext cx="9144000" cy="389024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8087265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0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1" y="1347615"/>
            <a:ext cx="4644008" cy="37958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4572001" y="1347615"/>
            <a:ext cx="4644008" cy="37958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3194348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03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155632" y="123479"/>
            <a:ext cx="3330575" cy="20882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155632" y="2355727"/>
            <a:ext cx="3330575" cy="223224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5" name="Picture Placeholder 16"/>
          <p:cNvSpPr>
            <a:spLocks noGrp="1"/>
          </p:cNvSpPr>
          <p:nvPr>
            <p:ph type="pic" sz="quarter" idx="61"/>
          </p:nvPr>
        </p:nvSpPr>
        <p:spPr>
          <a:xfrm>
            <a:off x="3633539" y="123479"/>
            <a:ext cx="2714782" cy="44644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62"/>
          </p:nvPr>
        </p:nvSpPr>
        <p:spPr>
          <a:xfrm>
            <a:off x="6492336" y="123478"/>
            <a:ext cx="2538487" cy="1368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63"/>
          </p:nvPr>
        </p:nvSpPr>
        <p:spPr>
          <a:xfrm>
            <a:off x="6492336" y="1635647"/>
            <a:ext cx="2538487" cy="1440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8" name="Picture Placeholder 16"/>
          <p:cNvSpPr>
            <a:spLocks noGrp="1"/>
          </p:cNvSpPr>
          <p:nvPr>
            <p:ph type="pic" sz="quarter" idx="64"/>
          </p:nvPr>
        </p:nvSpPr>
        <p:spPr>
          <a:xfrm>
            <a:off x="6492336" y="3219822"/>
            <a:ext cx="2538487" cy="1368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344487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1147762" y="270352"/>
            <a:ext cx="7493054" cy="5473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939800" y="1114159"/>
            <a:ext cx="7701015" cy="2824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20688" y="4826859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08AB27F-FE82-43F8-8A02-9B21948B93A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2114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7763" y="1159511"/>
            <a:ext cx="7493054" cy="66119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47763" y="1820708"/>
            <a:ext cx="7493053" cy="270049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31F87C6-8F4B-C14F-952F-C5F8DB9F27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24179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1205136" y="1347615"/>
            <a:ext cx="7399312" cy="31683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26691708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7114" y="1347615"/>
            <a:ext cx="7399312" cy="3185146"/>
          </a:xfrm>
          <a:prstGeom prst="rect">
            <a:avLst/>
          </a:prstGeom>
        </p:spPr>
        <p:txBody>
          <a:bodyPr/>
          <a:lstStyle>
            <a:lvl1pPr marL="342892" indent="-3428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 marL="742931" indent="-285743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2pPr>
            <a:lvl3pPr marL="1142972" indent="-228594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3pPr>
            <a:lvl4pPr marL="1600160" indent="-228594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4pPr>
            <a:lvl5pPr marL="2057348" indent="-228594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420688" y="4826859"/>
            <a:ext cx="2133600" cy="273844"/>
          </a:xfrm>
        </p:spPr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167590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14587" y="1424111"/>
            <a:ext cx="4040188" cy="35555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414587" y="1779662"/>
            <a:ext cx="4040188" cy="2814960"/>
          </a:xfrm>
          <a:prstGeom prst="rect">
            <a:avLst/>
          </a:prstGeom>
        </p:spPr>
        <p:txBody>
          <a:bodyPr/>
          <a:lstStyle>
            <a:lvl1pPr marL="342892" indent="-342892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1pPr>
            <a:lvl2pPr marL="742931" indent="-285743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2972" indent="-228594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160" indent="-228594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348" indent="-228594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7" y="1424111"/>
            <a:ext cx="4041775" cy="35555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4645027" y="1779662"/>
            <a:ext cx="4041775" cy="2814960"/>
          </a:xfrm>
          <a:prstGeom prst="rect">
            <a:avLst/>
          </a:prstGeom>
        </p:spPr>
        <p:txBody>
          <a:bodyPr/>
          <a:lstStyle>
            <a:lvl1pPr marL="342892" indent="-342892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1pPr>
            <a:lvl2pPr marL="742931" indent="-285743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2972" indent="-228594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160" indent="-228594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348" indent="-228594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6346971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and Content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39979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27038" y="1851670"/>
            <a:ext cx="2322854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Picture Placeholder 24"/>
          <p:cNvSpPr>
            <a:spLocks noGrp="1"/>
          </p:cNvSpPr>
          <p:nvPr>
            <p:ph type="pic" sz="quarter" idx="19"/>
          </p:nvPr>
        </p:nvSpPr>
        <p:spPr>
          <a:xfrm>
            <a:off x="3039979" y="0"/>
            <a:ext cx="3072063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18" name="Picture Placeholder 24"/>
          <p:cNvSpPr>
            <a:spLocks noGrp="1"/>
          </p:cNvSpPr>
          <p:nvPr>
            <p:ph type="pic" sz="quarter" idx="20"/>
          </p:nvPr>
        </p:nvSpPr>
        <p:spPr>
          <a:xfrm>
            <a:off x="6107868" y="0"/>
            <a:ext cx="3039979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3419872" y="1851670"/>
            <a:ext cx="2322854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444208" y="1851670"/>
            <a:ext cx="2261642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91736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3"/>
          <p:cNvSpPr>
            <a:spLocks noGrp="1"/>
          </p:cNvSpPr>
          <p:nvPr>
            <p:ph sz="quarter" idx="13"/>
          </p:nvPr>
        </p:nvSpPr>
        <p:spPr>
          <a:xfrm>
            <a:off x="433136" y="1747866"/>
            <a:ext cx="2482680" cy="29121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3312694" y="1739845"/>
            <a:ext cx="2482680" cy="29121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5"/>
          </p:nvPr>
        </p:nvSpPr>
        <p:spPr>
          <a:xfrm>
            <a:off x="6216315" y="1747865"/>
            <a:ext cx="2482680" cy="290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43336" y="1450983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322894" y="1450983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226515" y="1450983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 baseline="0">
                <a:solidFill>
                  <a:srgbClr val="575756"/>
                </a:solidFill>
              </a:defRPr>
            </a:lvl1pPr>
            <a:lvl2pPr marL="457189" indent="0">
              <a:buNone/>
              <a:defRPr sz="2000" b="1"/>
            </a:lvl2pPr>
            <a:lvl3pPr marL="914378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2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67641874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and Content 0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1" y="1"/>
            <a:ext cx="3039979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27039" y="1851671"/>
            <a:ext cx="2322854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31" indent="-285743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2972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160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348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Picture Placeholder 24"/>
          <p:cNvSpPr>
            <a:spLocks noGrp="1"/>
          </p:cNvSpPr>
          <p:nvPr>
            <p:ph type="pic" sz="quarter" idx="19"/>
          </p:nvPr>
        </p:nvSpPr>
        <p:spPr>
          <a:xfrm>
            <a:off x="3039980" y="1"/>
            <a:ext cx="3072063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18" name="Picture Placeholder 24"/>
          <p:cNvSpPr>
            <a:spLocks noGrp="1"/>
          </p:cNvSpPr>
          <p:nvPr>
            <p:ph type="pic" sz="quarter" idx="20"/>
          </p:nvPr>
        </p:nvSpPr>
        <p:spPr>
          <a:xfrm>
            <a:off x="6107869" y="1"/>
            <a:ext cx="3039979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3419872" y="1851671"/>
            <a:ext cx="2322854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31" indent="-285743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2972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160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348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444208" y="1851671"/>
            <a:ext cx="2261642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31" indent="-285743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2972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160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348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619325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and Content 0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3505200" cy="51434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tabLst>
                <a:tab pos="2959026" algn="l"/>
              </a:tabLst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067945" y="843558"/>
            <a:ext cx="4618855" cy="3048000"/>
          </a:xfrm>
          <a:prstGeom prst="rect">
            <a:avLst/>
          </a:prstGeom>
        </p:spPr>
        <p:txBody>
          <a:bodyPr>
            <a:normAutofit/>
          </a:bodyPr>
          <a:lstStyle>
            <a:lvl1pPr marL="342892" indent="-342892">
              <a:lnSpc>
                <a:spcPct val="120000"/>
              </a:lnSpc>
              <a:buClr>
                <a:srgbClr val="E30613"/>
              </a:buClr>
              <a:buSzPct val="90000"/>
              <a:buFont typeface="Wingdings" charset="2"/>
              <a:buChar char="§"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31" indent="-285743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2972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160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348" indent="-228594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95537" y="4659983"/>
            <a:ext cx="8352928" cy="1440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8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067175" y="4711701"/>
            <a:ext cx="1512887" cy="714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8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580063" y="4711701"/>
            <a:ext cx="1595437" cy="71438"/>
          </a:xfrm>
          <a:prstGeom prst="rect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8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164388" y="4711701"/>
            <a:ext cx="1600423" cy="71438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050478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0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253251"/>
            <a:ext cx="9144000" cy="389024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63009692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0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1" y="1347615"/>
            <a:ext cx="4644008" cy="37958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4572001" y="1347615"/>
            <a:ext cx="4644008" cy="37958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63872576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03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155632" y="123479"/>
            <a:ext cx="3330575" cy="20882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155632" y="2355727"/>
            <a:ext cx="3330575" cy="223224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5" name="Picture Placeholder 16"/>
          <p:cNvSpPr>
            <a:spLocks noGrp="1"/>
          </p:cNvSpPr>
          <p:nvPr>
            <p:ph type="pic" sz="quarter" idx="61"/>
          </p:nvPr>
        </p:nvSpPr>
        <p:spPr>
          <a:xfrm>
            <a:off x="3633539" y="123479"/>
            <a:ext cx="2714782" cy="44644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62"/>
          </p:nvPr>
        </p:nvSpPr>
        <p:spPr>
          <a:xfrm>
            <a:off x="6492336" y="123478"/>
            <a:ext cx="2538487" cy="1368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63"/>
          </p:nvPr>
        </p:nvSpPr>
        <p:spPr>
          <a:xfrm>
            <a:off x="6492336" y="1635647"/>
            <a:ext cx="2538487" cy="1440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8" name="Picture Placeholder 16"/>
          <p:cNvSpPr>
            <a:spLocks noGrp="1"/>
          </p:cNvSpPr>
          <p:nvPr>
            <p:ph type="pic" sz="quarter" idx="64"/>
          </p:nvPr>
        </p:nvSpPr>
        <p:spPr>
          <a:xfrm>
            <a:off x="6492336" y="3219822"/>
            <a:ext cx="2538487" cy="1368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079719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7763" y="1152843"/>
            <a:ext cx="7442200" cy="655637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3159" y="1939290"/>
            <a:ext cx="7436803" cy="63119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31F87C6-8F4B-C14F-952F-C5F8DB9F27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4114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7763" y="1159511"/>
            <a:ext cx="7493054" cy="66119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47763" y="1820708"/>
            <a:ext cx="7493053" cy="270049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31F87C6-8F4B-C14F-952F-C5F8DB9F27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804655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PPL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2966718" cy="1960880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955712" y="0"/>
            <a:ext cx="3148756" cy="1960880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en-US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85839" y="0"/>
            <a:ext cx="3058161" cy="1960880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73941" y="2265680"/>
            <a:ext cx="2497224" cy="219519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3309259" y="2265680"/>
            <a:ext cx="2497224" cy="219519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085839" y="2265680"/>
            <a:ext cx="2497224" cy="219519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1F87C6-8F4B-C14F-952F-C5F8DB9F27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670782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3473450" y="1788160"/>
            <a:ext cx="5213350" cy="2743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473450" y="771525"/>
            <a:ext cx="521335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3190875" cy="51435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1F87C6-8F4B-C14F-952F-C5F8DB9F27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89776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and Content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505200" cy="51434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tabLst>
                <a:tab pos="2959100" algn="l"/>
              </a:tabLst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067944" y="1107926"/>
            <a:ext cx="4618855" cy="30480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20000"/>
              </a:lnSpc>
              <a:buClr>
                <a:srgbClr val="E30613"/>
              </a:buClr>
              <a:buSzPct val="90000"/>
              <a:buFont typeface="Wingdings" charset="2"/>
              <a:buChar char="§"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95536" y="4659982"/>
            <a:ext cx="8352928" cy="1440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5" name="Rectangle 4"/>
          <p:cNvSpPr/>
          <p:nvPr userDrawn="1"/>
        </p:nvSpPr>
        <p:spPr>
          <a:xfrm>
            <a:off x="4067174" y="4711700"/>
            <a:ext cx="1512887" cy="714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6" name="Rectangle 5"/>
          <p:cNvSpPr/>
          <p:nvPr userDrawn="1"/>
        </p:nvSpPr>
        <p:spPr>
          <a:xfrm>
            <a:off x="5580062" y="4711700"/>
            <a:ext cx="1595437" cy="71438"/>
          </a:xfrm>
          <a:prstGeom prst="rect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7" name="Rectangle 6"/>
          <p:cNvSpPr/>
          <p:nvPr userDrawn="1"/>
        </p:nvSpPr>
        <p:spPr>
          <a:xfrm>
            <a:off x="7164387" y="4711700"/>
            <a:ext cx="1600423" cy="71438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2297802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7763" y="1152843"/>
            <a:ext cx="7442200" cy="655637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53159" y="1939290"/>
            <a:ext cx="7436803" cy="631190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6" name="Slide Number Placeholder 2"/>
          <p:cNvSpPr txBox="1">
            <a:spLocks/>
          </p:cNvSpPr>
          <p:nvPr userDrawn="1"/>
        </p:nvSpPr>
        <p:spPr>
          <a:xfrm>
            <a:off x="7812360" y="4805048"/>
            <a:ext cx="98607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ZA" dirty="0">
                <a:solidFill>
                  <a:srgbClr val="5C5C5C">
                    <a:tint val="75000"/>
                  </a:srgbClr>
                </a:solidFill>
              </a:rPr>
              <a:t>CONFIDENTIAL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554531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7763" y="1159511"/>
            <a:ext cx="7493054" cy="66119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47763" y="1820708"/>
            <a:ext cx="7493053" cy="270049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31F87C6-8F4B-C14F-952F-C5F8DB9F27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726047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PPL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2966718" cy="1960880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en-US" dirty="0"/>
          </a:p>
        </p:txBody>
      </p:sp>
      <p:sp>
        <p:nvSpPr>
          <p:cNvPr id="7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2955712" y="0"/>
            <a:ext cx="3148756" cy="1960880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en-US" dirty="0"/>
          </a:p>
        </p:txBody>
      </p:sp>
      <p:sp>
        <p:nvSpPr>
          <p:cNvPr id="8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6085839" y="0"/>
            <a:ext cx="3058161" cy="1960880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573941" y="2265680"/>
            <a:ext cx="2497224" cy="219519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3309259" y="2265680"/>
            <a:ext cx="2497224" cy="219519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085839" y="2265680"/>
            <a:ext cx="2497224" cy="219519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en-GB" dirty="0"/>
              <a:t>Click to edit Master text style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1F87C6-8F4B-C14F-952F-C5F8DB9F27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80316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/>
          <p:cNvSpPr>
            <a:spLocks noGrp="1"/>
          </p:cNvSpPr>
          <p:nvPr>
            <p:ph idx="1"/>
          </p:nvPr>
        </p:nvSpPr>
        <p:spPr>
          <a:xfrm>
            <a:off x="3473450" y="1788160"/>
            <a:ext cx="5213350" cy="2743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473450" y="771525"/>
            <a:ext cx="521335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2400"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3190875" cy="51435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1F87C6-8F4B-C14F-952F-C5F8DB9F27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728478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1205136" y="1347614"/>
            <a:ext cx="7399312" cy="31683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10680812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7114" y="1347614"/>
            <a:ext cx="7399312" cy="3185146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420688" y="4826858"/>
            <a:ext cx="2133600" cy="273844"/>
          </a:xfrm>
        </p:spPr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46465185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14586" y="1347614"/>
            <a:ext cx="4040188" cy="35555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414586" y="1703165"/>
            <a:ext cx="4040188" cy="281496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347614"/>
            <a:ext cx="4041775" cy="35555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703165"/>
            <a:ext cx="4041775" cy="281496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98663894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3"/>
          <p:cNvSpPr>
            <a:spLocks noGrp="1"/>
          </p:cNvSpPr>
          <p:nvPr>
            <p:ph sz="quarter" idx="13"/>
          </p:nvPr>
        </p:nvSpPr>
        <p:spPr>
          <a:xfrm>
            <a:off x="433136" y="1716505"/>
            <a:ext cx="2482680" cy="29121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3312694" y="1708484"/>
            <a:ext cx="2482680" cy="29121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5"/>
          </p:nvPr>
        </p:nvSpPr>
        <p:spPr>
          <a:xfrm>
            <a:off x="6216315" y="1716505"/>
            <a:ext cx="2482680" cy="290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43336" y="1419622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322894" y="1419623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226515" y="1419622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 baseline="0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66144295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and Content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39979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27038" y="1851670"/>
            <a:ext cx="2322854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Picture Placeholder 24"/>
          <p:cNvSpPr>
            <a:spLocks noGrp="1"/>
          </p:cNvSpPr>
          <p:nvPr>
            <p:ph type="pic" sz="quarter" idx="19"/>
          </p:nvPr>
        </p:nvSpPr>
        <p:spPr>
          <a:xfrm>
            <a:off x="3039979" y="0"/>
            <a:ext cx="3072063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18" name="Picture Placeholder 24"/>
          <p:cNvSpPr>
            <a:spLocks noGrp="1"/>
          </p:cNvSpPr>
          <p:nvPr>
            <p:ph type="pic" sz="quarter" idx="20"/>
          </p:nvPr>
        </p:nvSpPr>
        <p:spPr>
          <a:xfrm>
            <a:off x="6107868" y="0"/>
            <a:ext cx="3039979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3419872" y="1851670"/>
            <a:ext cx="2322854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444208" y="1851670"/>
            <a:ext cx="2261642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6262351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and Content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505200" cy="51434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tabLst>
                <a:tab pos="2959100" algn="l"/>
              </a:tabLst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067944" y="1107926"/>
            <a:ext cx="4618855" cy="30480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20000"/>
              </a:lnSpc>
              <a:buClr>
                <a:srgbClr val="E30613"/>
              </a:buClr>
              <a:buSzPct val="90000"/>
              <a:buFont typeface="Wingdings" charset="2"/>
              <a:buChar char="§"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95536" y="4659982"/>
            <a:ext cx="8352928" cy="1440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067174" y="4711700"/>
            <a:ext cx="1512887" cy="714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580062" y="4711700"/>
            <a:ext cx="1595437" cy="71438"/>
          </a:xfrm>
          <a:prstGeom prst="rect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164387" y="4711700"/>
            <a:ext cx="1600423" cy="71438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60062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253250"/>
            <a:ext cx="4572000" cy="38902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4572000" y="1253250"/>
            <a:ext cx="4572000" cy="38902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64129585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253250"/>
            <a:ext cx="4572000" cy="38902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4572000" y="1253250"/>
            <a:ext cx="4572000" cy="38902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8995823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155631" y="123478"/>
            <a:ext cx="3330575" cy="20882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155631" y="2355726"/>
            <a:ext cx="3330575" cy="223224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5" name="Picture Placeholder 16"/>
          <p:cNvSpPr>
            <a:spLocks noGrp="1"/>
          </p:cNvSpPr>
          <p:nvPr>
            <p:ph type="pic" sz="quarter" idx="61"/>
          </p:nvPr>
        </p:nvSpPr>
        <p:spPr>
          <a:xfrm>
            <a:off x="3633538" y="123478"/>
            <a:ext cx="2714782" cy="44644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62"/>
          </p:nvPr>
        </p:nvSpPr>
        <p:spPr>
          <a:xfrm>
            <a:off x="6492335" y="123478"/>
            <a:ext cx="2538487" cy="1368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63"/>
          </p:nvPr>
        </p:nvSpPr>
        <p:spPr>
          <a:xfrm>
            <a:off x="6492335" y="1635646"/>
            <a:ext cx="2538487" cy="1440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8" name="Picture Placeholder 16"/>
          <p:cNvSpPr>
            <a:spLocks noGrp="1"/>
          </p:cNvSpPr>
          <p:nvPr>
            <p:ph type="pic" sz="quarter" idx="64"/>
          </p:nvPr>
        </p:nvSpPr>
        <p:spPr>
          <a:xfrm>
            <a:off x="6492335" y="3219822"/>
            <a:ext cx="2538487" cy="1368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328074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253250"/>
            <a:ext cx="9144000" cy="389024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1733829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Ba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13"/>
          <p:cNvSpPr>
            <a:spLocks noGrp="1"/>
          </p:cNvSpPr>
          <p:nvPr>
            <p:ph sz="quarter" idx="13"/>
          </p:nvPr>
        </p:nvSpPr>
        <p:spPr>
          <a:xfrm>
            <a:off x="422895" y="2025030"/>
            <a:ext cx="2362200" cy="226695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8"/>
          <p:cNvSpPr>
            <a:spLocks noGrp="1"/>
          </p:cNvSpPr>
          <p:nvPr>
            <p:ph sz="quarter" idx="39"/>
          </p:nvPr>
        </p:nvSpPr>
        <p:spPr>
          <a:xfrm>
            <a:off x="422895" y="1491630"/>
            <a:ext cx="1984248" cy="347472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400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42"/>
          </p:nvPr>
        </p:nvSpPr>
        <p:spPr>
          <a:xfrm>
            <a:off x="3361928" y="2025030"/>
            <a:ext cx="2362200" cy="226695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13"/>
          <p:cNvSpPr>
            <a:spLocks noGrp="1"/>
          </p:cNvSpPr>
          <p:nvPr>
            <p:ph sz="quarter" idx="43"/>
          </p:nvPr>
        </p:nvSpPr>
        <p:spPr>
          <a:xfrm>
            <a:off x="6324600" y="2034555"/>
            <a:ext cx="2362200" cy="226695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8"/>
          <p:cNvSpPr>
            <a:spLocks noGrp="1"/>
          </p:cNvSpPr>
          <p:nvPr>
            <p:ph sz="quarter" idx="60"/>
          </p:nvPr>
        </p:nvSpPr>
        <p:spPr>
          <a:xfrm>
            <a:off x="3361928" y="1491630"/>
            <a:ext cx="1984248" cy="347472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400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Content Placeholder 38"/>
          <p:cNvSpPr>
            <a:spLocks noGrp="1"/>
          </p:cNvSpPr>
          <p:nvPr>
            <p:ph sz="quarter" idx="61"/>
          </p:nvPr>
        </p:nvSpPr>
        <p:spPr>
          <a:xfrm>
            <a:off x="6324600" y="1501155"/>
            <a:ext cx="1984248" cy="347472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400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3059832" y="1841361"/>
            <a:ext cx="0" cy="17526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6012160" y="1850886"/>
            <a:ext cx="0" cy="17526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01613952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Lin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3"/>
          <p:cNvSpPr>
            <a:spLocks noGrp="1"/>
          </p:cNvSpPr>
          <p:nvPr>
            <p:ph sz="quarter" idx="13"/>
          </p:nvPr>
        </p:nvSpPr>
        <p:spPr>
          <a:xfrm>
            <a:off x="427038" y="1347614"/>
            <a:ext cx="8249418" cy="309634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37013160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/>
          <p:cNvSpPr>
            <a:spLocks noGrp="1"/>
          </p:cNvSpPr>
          <p:nvPr>
            <p:ph sz="quarter" idx="13"/>
          </p:nvPr>
        </p:nvSpPr>
        <p:spPr>
          <a:xfrm>
            <a:off x="1197114" y="1802018"/>
            <a:ext cx="7479342" cy="271394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60"/>
          </p:nvPr>
        </p:nvSpPr>
        <p:spPr>
          <a:xfrm>
            <a:off x="1197114" y="1347614"/>
            <a:ext cx="7479342" cy="36004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74885902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31F87C6-8F4B-C14F-952F-C5F8DB9F27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253806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1205136" y="1347614"/>
            <a:ext cx="7399312" cy="31683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75643417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7114" y="1347614"/>
            <a:ext cx="7399312" cy="3185146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420688" y="4826858"/>
            <a:ext cx="2133600" cy="273844"/>
          </a:xfrm>
        </p:spPr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56910439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14586" y="1424111"/>
            <a:ext cx="4040188" cy="35555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414586" y="1779662"/>
            <a:ext cx="4040188" cy="281496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424111"/>
            <a:ext cx="4041775" cy="35555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779662"/>
            <a:ext cx="4041775" cy="281496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0697766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155631" y="123478"/>
            <a:ext cx="3330575" cy="20882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155631" y="2355726"/>
            <a:ext cx="3330575" cy="223224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5" name="Picture Placeholder 16"/>
          <p:cNvSpPr>
            <a:spLocks noGrp="1"/>
          </p:cNvSpPr>
          <p:nvPr>
            <p:ph type="pic" sz="quarter" idx="61"/>
          </p:nvPr>
        </p:nvSpPr>
        <p:spPr>
          <a:xfrm>
            <a:off x="3633538" y="123478"/>
            <a:ext cx="2714782" cy="44644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62"/>
          </p:nvPr>
        </p:nvSpPr>
        <p:spPr>
          <a:xfrm>
            <a:off x="6492335" y="123478"/>
            <a:ext cx="2538487" cy="1368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63"/>
          </p:nvPr>
        </p:nvSpPr>
        <p:spPr>
          <a:xfrm>
            <a:off x="6492335" y="1635646"/>
            <a:ext cx="2538487" cy="1440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8" name="Picture Placeholder 16"/>
          <p:cNvSpPr>
            <a:spLocks noGrp="1"/>
          </p:cNvSpPr>
          <p:nvPr>
            <p:ph type="pic" sz="quarter" idx="64"/>
          </p:nvPr>
        </p:nvSpPr>
        <p:spPr>
          <a:xfrm>
            <a:off x="6492335" y="3219822"/>
            <a:ext cx="2538487" cy="1368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67735922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3"/>
          <p:cNvSpPr>
            <a:spLocks noGrp="1"/>
          </p:cNvSpPr>
          <p:nvPr>
            <p:ph sz="quarter" idx="13"/>
          </p:nvPr>
        </p:nvSpPr>
        <p:spPr>
          <a:xfrm>
            <a:off x="433136" y="1747865"/>
            <a:ext cx="2482680" cy="29121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3312694" y="1739844"/>
            <a:ext cx="2482680" cy="29121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5"/>
          </p:nvPr>
        </p:nvSpPr>
        <p:spPr>
          <a:xfrm>
            <a:off x="6216315" y="1747865"/>
            <a:ext cx="2482680" cy="290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43336" y="1450982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322894" y="1450983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226515" y="1450982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 baseline="0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04356250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and Content 0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39979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27038" y="1851670"/>
            <a:ext cx="2322854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Picture Placeholder 24"/>
          <p:cNvSpPr>
            <a:spLocks noGrp="1"/>
          </p:cNvSpPr>
          <p:nvPr>
            <p:ph type="pic" sz="quarter" idx="19"/>
          </p:nvPr>
        </p:nvSpPr>
        <p:spPr>
          <a:xfrm>
            <a:off x="3039979" y="0"/>
            <a:ext cx="3072063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18" name="Picture Placeholder 24"/>
          <p:cNvSpPr>
            <a:spLocks noGrp="1"/>
          </p:cNvSpPr>
          <p:nvPr>
            <p:ph type="pic" sz="quarter" idx="20"/>
          </p:nvPr>
        </p:nvSpPr>
        <p:spPr>
          <a:xfrm>
            <a:off x="6107868" y="0"/>
            <a:ext cx="3039979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3419872" y="1851670"/>
            <a:ext cx="2322854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444208" y="1851670"/>
            <a:ext cx="2261642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847675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and Content 0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505200" cy="51434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tabLst>
                <a:tab pos="2959100" algn="l"/>
              </a:tabLst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067944" y="843558"/>
            <a:ext cx="4618855" cy="30480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20000"/>
              </a:lnSpc>
              <a:buClr>
                <a:srgbClr val="E30613"/>
              </a:buClr>
              <a:buSzPct val="90000"/>
              <a:buFont typeface="Wingdings" charset="2"/>
              <a:buChar char="§"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95536" y="4659982"/>
            <a:ext cx="8352928" cy="1440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067174" y="4711700"/>
            <a:ext cx="1512887" cy="714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580062" y="4711700"/>
            <a:ext cx="1595437" cy="71438"/>
          </a:xfrm>
          <a:prstGeom prst="rect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164387" y="4711700"/>
            <a:ext cx="1600423" cy="71438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86342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0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253250"/>
            <a:ext cx="9144000" cy="389024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4206771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02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347614"/>
            <a:ext cx="4644008" cy="37958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4572000" y="1347614"/>
            <a:ext cx="4644008" cy="379588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91666884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03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155631" y="123478"/>
            <a:ext cx="3330575" cy="20882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155631" y="2355726"/>
            <a:ext cx="3330575" cy="223224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5" name="Picture Placeholder 16"/>
          <p:cNvSpPr>
            <a:spLocks noGrp="1"/>
          </p:cNvSpPr>
          <p:nvPr>
            <p:ph type="pic" sz="quarter" idx="61"/>
          </p:nvPr>
        </p:nvSpPr>
        <p:spPr>
          <a:xfrm>
            <a:off x="3633538" y="123478"/>
            <a:ext cx="2714782" cy="44644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62"/>
          </p:nvPr>
        </p:nvSpPr>
        <p:spPr>
          <a:xfrm>
            <a:off x="6492335" y="123478"/>
            <a:ext cx="2538487" cy="1368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63"/>
          </p:nvPr>
        </p:nvSpPr>
        <p:spPr>
          <a:xfrm>
            <a:off x="6492335" y="1635646"/>
            <a:ext cx="2538487" cy="1440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8" name="Picture Placeholder 16"/>
          <p:cNvSpPr>
            <a:spLocks noGrp="1"/>
          </p:cNvSpPr>
          <p:nvPr>
            <p:ph type="pic" sz="quarter" idx="64"/>
          </p:nvPr>
        </p:nvSpPr>
        <p:spPr>
          <a:xfrm>
            <a:off x="6492335" y="3219822"/>
            <a:ext cx="2538487" cy="1368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629471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1205136" y="1347614"/>
            <a:ext cx="7399312" cy="31683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6687254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91383551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97114" y="1347614"/>
            <a:ext cx="7399312" cy="3185146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420688" y="4826858"/>
            <a:ext cx="2133600" cy="273844"/>
          </a:xfrm>
        </p:spPr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56898385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14586" y="1347614"/>
            <a:ext cx="4040188" cy="35555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414586" y="1703165"/>
            <a:ext cx="4040188" cy="281496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347614"/>
            <a:ext cx="4041775" cy="355551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703165"/>
            <a:ext cx="4041775" cy="2814960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1pPr>
            <a:lvl2pPr marL="742950" indent="-28575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rgbClr val="E30613"/>
              </a:buClr>
              <a:buSzPct val="90000"/>
              <a:buFont typeface="Wingdings" charset="2"/>
              <a:buChar char="§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4pPr>
            <a:lvl5pPr marL="2057400" indent="-228600">
              <a:buClr>
                <a:srgbClr val="E30613"/>
              </a:buClr>
              <a:buSzPct val="90000"/>
              <a:buFont typeface="Wingdings" charset="2"/>
              <a:buChar char="§"/>
              <a:defRPr sz="1200">
                <a:solidFill>
                  <a:schemeClr val="tx1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0391577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3"/>
          <p:cNvSpPr>
            <a:spLocks noGrp="1"/>
          </p:cNvSpPr>
          <p:nvPr>
            <p:ph sz="quarter" idx="13"/>
          </p:nvPr>
        </p:nvSpPr>
        <p:spPr>
          <a:xfrm>
            <a:off x="433136" y="1716505"/>
            <a:ext cx="2482680" cy="29121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3312694" y="1708484"/>
            <a:ext cx="2482680" cy="291211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5"/>
          </p:nvPr>
        </p:nvSpPr>
        <p:spPr>
          <a:xfrm>
            <a:off x="6216315" y="1716505"/>
            <a:ext cx="2482680" cy="290409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43336" y="1419622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3322894" y="1419623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6226515" y="1419622"/>
            <a:ext cx="2472480" cy="288032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400" b="1" baseline="0">
                <a:solidFill>
                  <a:srgbClr val="57575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376249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253250"/>
            <a:ext cx="9144000" cy="389024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2134607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and Content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039979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27038" y="1851670"/>
            <a:ext cx="2322854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Picture Placeholder 24"/>
          <p:cNvSpPr>
            <a:spLocks noGrp="1"/>
          </p:cNvSpPr>
          <p:nvPr>
            <p:ph type="pic" sz="quarter" idx="19"/>
          </p:nvPr>
        </p:nvSpPr>
        <p:spPr>
          <a:xfrm>
            <a:off x="3039979" y="0"/>
            <a:ext cx="3072063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18" name="Picture Placeholder 24"/>
          <p:cNvSpPr>
            <a:spLocks noGrp="1"/>
          </p:cNvSpPr>
          <p:nvPr>
            <p:ph type="pic" sz="quarter" idx="20"/>
          </p:nvPr>
        </p:nvSpPr>
        <p:spPr>
          <a:xfrm>
            <a:off x="6107868" y="0"/>
            <a:ext cx="3039979" cy="15636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3419872" y="1851670"/>
            <a:ext cx="2322854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6444208" y="1851670"/>
            <a:ext cx="2261642" cy="273630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78892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and Content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505200" cy="51434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tabLst>
                <a:tab pos="2959100" algn="l"/>
              </a:tabLst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067944" y="1107926"/>
            <a:ext cx="4618855" cy="30480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20000"/>
              </a:lnSpc>
              <a:buClr>
                <a:srgbClr val="E30613"/>
              </a:buClr>
              <a:buSzPct val="90000"/>
              <a:buFont typeface="Wingdings" charset="2"/>
              <a:buChar char="§"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1430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16002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057400" indent="-22860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395536" y="4659982"/>
            <a:ext cx="8352928" cy="1440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067174" y="4711700"/>
            <a:ext cx="1512887" cy="7143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580062" y="4711700"/>
            <a:ext cx="1595437" cy="71438"/>
          </a:xfrm>
          <a:prstGeom prst="rect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7164387" y="4711700"/>
            <a:ext cx="1600423" cy="71438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878796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253250"/>
            <a:ext cx="4572000" cy="38902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4572000" y="1253250"/>
            <a:ext cx="4572000" cy="389025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05427853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155631" y="123478"/>
            <a:ext cx="3330575" cy="208823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155631" y="2355726"/>
            <a:ext cx="3330575" cy="223224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5" name="Picture Placeholder 16"/>
          <p:cNvSpPr>
            <a:spLocks noGrp="1"/>
          </p:cNvSpPr>
          <p:nvPr>
            <p:ph type="pic" sz="quarter" idx="61"/>
          </p:nvPr>
        </p:nvSpPr>
        <p:spPr>
          <a:xfrm>
            <a:off x="3633538" y="123478"/>
            <a:ext cx="2714782" cy="446449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62"/>
          </p:nvPr>
        </p:nvSpPr>
        <p:spPr>
          <a:xfrm>
            <a:off x="6492335" y="123478"/>
            <a:ext cx="2538487" cy="1368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63"/>
          </p:nvPr>
        </p:nvSpPr>
        <p:spPr>
          <a:xfrm>
            <a:off x="6492335" y="1635646"/>
            <a:ext cx="2538487" cy="1440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8" name="Picture Placeholder 16"/>
          <p:cNvSpPr>
            <a:spLocks noGrp="1"/>
          </p:cNvSpPr>
          <p:nvPr>
            <p:ph type="pic" sz="quarter" idx="64"/>
          </p:nvPr>
        </p:nvSpPr>
        <p:spPr>
          <a:xfrm>
            <a:off x="6492335" y="3219822"/>
            <a:ext cx="2538487" cy="13681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97604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253250"/>
            <a:ext cx="9144000" cy="389024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611281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Ba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13"/>
          <p:cNvSpPr>
            <a:spLocks noGrp="1"/>
          </p:cNvSpPr>
          <p:nvPr>
            <p:ph sz="quarter" idx="13"/>
          </p:nvPr>
        </p:nvSpPr>
        <p:spPr>
          <a:xfrm>
            <a:off x="422895" y="2025030"/>
            <a:ext cx="2362200" cy="226695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8"/>
          <p:cNvSpPr>
            <a:spLocks noGrp="1"/>
          </p:cNvSpPr>
          <p:nvPr>
            <p:ph sz="quarter" idx="39"/>
          </p:nvPr>
        </p:nvSpPr>
        <p:spPr>
          <a:xfrm>
            <a:off x="422895" y="1491630"/>
            <a:ext cx="1984248" cy="347472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400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42"/>
          </p:nvPr>
        </p:nvSpPr>
        <p:spPr>
          <a:xfrm>
            <a:off x="3361928" y="2025030"/>
            <a:ext cx="2362200" cy="226695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13"/>
          <p:cNvSpPr>
            <a:spLocks noGrp="1"/>
          </p:cNvSpPr>
          <p:nvPr>
            <p:ph sz="quarter" idx="43"/>
          </p:nvPr>
        </p:nvSpPr>
        <p:spPr>
          <a:xfrm>
            <a:off x="6324600" y="2034555"/>
            <a:ext cx="2362200" cy="226695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8"/>
          <p:cNvSpPr>
            <a:spLocks noGrp="1"/>
          </p:cNvSpPr>
          <p:nvPr>
            <p:ph sz="quarter" idx="60"/>
          </p:nvPr>
        </p:nvSpPr>
        <p:spPr>
          <a:xfrm>
            <a:off x="3361928" y="1491630"/>
            <a:ext cx="1984248" cy="347472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400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Content Placeholder 38"/>
          <p:cNvSpPr>
            <a:spLocks noGrp="1"/>
          </p:cNvSpPr>
          <p:nvPr>
            <p:ph sz="quarter" idx="61"/>
          </p:nvPr>
        </p:nvSpPr>
        <p:spPr>
          <a:xfrm>
            <a:off x="6324600" y="1501155"/>
            <a:ext cx="1984248" cy="347472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400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3059832" y="1841361"/>
            <a:ext cx="0" cy="17526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6012160" y="1850886"/>
            <a:ext cx="0" cy="17526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57964265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Lin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3"/>
          <p:cNvSpPr>
            <a:spLocks noGrp="1"/>
          </p:cNvSpPr>
          <p:nvPr>
            <p:ph sz="quarter" idx="13"/>
          </p:nvPr>
        </p:nvSpPr>
        <p:spPr>
          <a:xfrm>
            <a:off x="427038" y="1347614"/>
            <a:ext cx="8249418" cy="3096344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72942596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/>
          <p:cNvSpPr>
            <a:spLocks noGrp="1"/>
          </p:cNvSpPr>
          <p:nvPr>
            <p:ph sz="quarter" idx="13"/>
          </p:nvPr>
        </p:nvSpPr>
        <p:spPr>
          <a:xfrm>
            <a:off x="1197114" y="1802018"/>
            <a:ext cx="7479342" cy="271394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60"/>
          </p:nvPr>
        </p:nvSpPr>
        <p:spPr>
          <a:xfrm>
            <a:off x="1197114" y="1347614"/>
            <a:ext cx="7479342" cy="36004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1197114" y="396000"/>
            <a:ext cx="7399312" cy="85725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400">
                <a:solidFill>
                  <a:srgbClr val="575756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0792488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R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/>
          <a:lstStyle/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2392680" y="2210400"/>
            <a:ext cx="6243320" cy="636587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2394000" y="2847600"/>
            <a:ext cx="6233160" cy="131445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652611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420688" y="1437624"/>
            <a:ext cx="8338483" cy="3132348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788" b="0" i="0">
                <a:solidFill>
                  <a:srgbClr val="87878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C93F3BA-2424-4C34-8B7C-205B3BB30EE9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20688" y="843559"/>
            <a:ext cx="8338483" cy="42128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>
            <a:lvl1pPr>
              <a:defRPr sz="2100">
                <a:solidFill>
                  <a:srgbClr val="57575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310078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gif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76.xml"/><Relationship Id="rId4" Type="http://schemas.openxmlformats.org/officeDocument/2006/relationships/image" Target="../media/image4.emf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image" Target="../media/image1.gif"/><Relationship Id="rId5" Type="http://schemas.openxmlformats.org/officeDocument/2006/relationships/slideLayout" Target="../slideLayouts/slideLayout81.xml"/><Relationship Id="rId10" Type="http://schemas.openxmlformats.org/officeDocument/2006/relationships/theme" Target="../theme/theme11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slideLayout" Target="../slideLayouts/slideLayout98.xml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5" Type="http://schemas.openxmlformats.org/officeDocument/2006/relationships/image" Target="../media/image1.gif"/><Relationship Id="rId10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26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5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slideLayout" Target="../slideLayouts/slideLayout118.xml"/><Relationship Id="rId29" Type="http://schemas.openxmlformats.org/officeDocument/2006/relationships/image" Target="../media/image5.png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24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23" Type="http://schemas.openxmlformats.org/officeDocument/2006/relationships/slideLayout" Target="../slideLayouts/slideLayout121.xml"/><Relationship Id="rId28" Type="http://schemas.openxmlformats.org/officeDocument/2006/relationships/theme" Target="../theme/theme13.xml"/><Relationship Id="rId10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slideLayout" Target="../slideLayouts/slideLayout120.xml"/><Relationship Id="rId27" Type="http://schemas.openxmlformats.org/officeDocument/2006/relationships/slideLayout" Target="../slideLayouts/slideLayout125.xml"/><Relationship Id="rId30" Type="http://schemas.openxmlformats.org/officeDocument/2006/relationships/image" Target="../media/image6.pn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2" Type="http://schemas.openxmlformats.org/officeDocument/2006/relationships/slideLayout" Target="../slideLayouts/slideLayout127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5" Type="http://schemas.openxmlformats.org/officeDocument/2006/relationships/image" Target="../media/image1.gif"/><Relationship Id="rId10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theme" Target="../theme/theme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15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4.em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16.xml"/><Relationship Id="rId9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image" Target="../media/image1.gif"/><Relationship Id="rId5" Type="http://schemas.openxmlformats.org/officeDocument/2006/relationships/slideLayout" Target="../slideLayouts/slideLayout22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image" Target="../media/image1.gif"/><Relationship Id="rId5" Type="http://schemas.openxmlformats.org/officeDocument/2006/relationships/slideLayout" Target="../slideLayouts/slideLayout31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1.gif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image" Target="../media/image1.gif"/><Relationship Id="rId5" Type="http://schemas.openxmlformats.org/officeDocument/2006/relationships/slideLayout" Target="../slideLayouts/slideLayout51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3.emf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59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2.xml"/><Relationship Id="rId7" Type="http://schemas.openxmlformats.org/officeDocument/2006/relationships/image" Target="../media/image4.emf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image" Target="../media/image3.emf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6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66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2" Type="http://schemas.openxmlformats.org/officeDocument/2006/relationships/slideLayout" Target="../slideLayouts/slideLayout65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5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73.xml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image" Target="../media/image1.gi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428625" y="4711700"/>
            <a:ext cx="8272464" cy="71438"/>
            <a:chOff x="428625" y="4711700"/>
            <a:chExt cx="8272464" cy="71438"/>
          </a:xfrm>
        </p:grpSpPr>
        <p:sp>
          <p:nvSpPr>
            <p:cNvPr id="3" name="Rectangle 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4" name="Rectangle 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rgbClr val="E306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5" name="Rectangle 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rgbClr val="94BF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483518"/>
            <a:ext cx="431800" cy="43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933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807" r:id="rId2"/>
    <p:sldLayoutId id="2147483711" r:id="rId3"/>
    <p:sldLayoutId id="2147483707" r:id="rId4"/>
    <p:sldLayoutId id="2147483710" r:id="rId5"/>
    <p:sldLayoutId id="2147483805" r:id="rId6"/>
    <p:sldLayoutId id="2147483714" r:id="rId7"/>
    <p:sldLayoutId id="2147483716" r:id="rId8"/>
    <p:sldLayoutId id="2147483713" r:id="rId9"/>
    <p:sldLayoutId id="2147483708" r:id="rId10"/>
    <p:sldLayoutId id="2147483715" r:id="rId11"/>
    <p:sldLayoutId id="2147483717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39800" y="1128907"/>
            <a:ext cx="7953477" cy="2824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65083" y="490483"/>
            <a:ext cx="474717" cy="474717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1147761" y="417831"/>
            <a:ext cx="7745515" cy="5473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64820" y="4643120"/>
            <a:ext cx="8214360" cy="44450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231F87C6-8F4B-C14F-952F-C5F8DB9F27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1347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BE000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BE0004"/>
        </a:buClr>
        <a:buSzPct val="50000"/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428625" y="4711700"/>
            <a:ext cx="8272464" cy="71438"/>
            <a:chOff x="428625" y="4711700"/>
            <a:chExt cx="8272464" cy="71438"/>
          </a:xfrm>
        </p:grpSpPr>
        <p:sp>
          <p:nvSpPr>
            <p:cNvPr id="3" name="Rectangle 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>
                <a:solidFill>
                  <a:srgbClr val="FFFFFF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rgbClr val="E306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rgbClr val="94BF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>
                <a:solidFill>
                  <a:srgbClr val="FFFFFF"/>
                </a:solidFill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89" y="411164"/>
            <a:ext cx="431800" cy="43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447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3" r:id="rId1"/>
    <p:sldLayoutId id="2147483904" r:id="rId2"/>
    <p:sldLayoutId id="2147483905" r:id="rId3"/>
    <p:sldLayoutId id="2147483906" r:id="rId4"/>
    <p:sldLayoutId id="2147483907" r:id="rId5"/>
    <p:sldLayoutId id="2147483908" r:id="rId6"/>
    <p:sldLayoutId id="2147483909" r:id="rId7"/>
    <p:sldLayoutId id="2147483910" r:id="rId8"/>
    <p:sldLayoutId id="2147483911" r:id="rId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428625" y="4711700"/>
            <a:ext cx="8272464" cy="71438"/>
            <a:chOff x="428625" y="4711700"/>
            <a:chExt cx="8272464" cy="71438"/>
          </a:xfrm>
        </p:grpSpPr>
        <p:sp>
          <p:nvSpPr>
            <p:cNvPr id="3" name="Rectangle 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>
                <a:solidFill>
                  <a:srgbClr val="FFFFFF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rgbClr val="E306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rgbClr val="94BF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>
                <a:solidFill>
                  <a:srgbClr val="FFFFFF"/>
                </a:solidFill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89" y="411164"/>
            <a:ext cx="431800" cy="431800"/>
          </a:xfrm>
          <a:prstGeom prst="rect">
            <a:avLst/>
          </a:prstGeom>
        </p:spPr>
      </p:pic>
      <p:sp>
        <p:nvSpPr>
          <p:cNvPr id="9" name="Slide Number Placeholder 2"/>
          <p:cNvSpPr txBox="1">
            <a:spLocks/>
          </p:cNvSpPr>
          <p:nvPr userDrawn="1"/>
        </p:nvSpPr>
        <p:spPr>
          <a:xfrm>
            <a:off x="7812360" y="4805048"/>
            <a:ext cx="98607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ZA" dirty="0">
                <a:solidFill>
                  <a:srgbClr val="5C5C5C">
                    <a:tint val="75000"/>
                  </a:srgbClr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770024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39" r:id="rId2"/>
    <p:sldLayoutId id="2147483940" r:id="rId3"/>
    <p:sldLayoutId id="2147483941" r:id="rId4"/>
    <p:sldLayoutId id="2147483942" r:id="rId5"/>
    <p:sldLayoutId id="2147483943" r:id="rId6"/>
    <p:sldLayoutId id="2147483944" r:id="rId7"/>
    <p:sldLayoutId id="2147483945" r:id="rId8"/>
    <p:sldLayoutId id="2147483946" r:id="rId9"/>
    <p:sldLayoutId id="2147483947" r:id="rId10"/>
    <p:sldLayoutId id="2147483948" r:id="rId11"/>
    <p:sldLayoutId id="2147483949" r:id="rId12"/>
    <p:sldLayoutId id="2147483950" r:id="rId1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20688" y="484000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DC93F3BA-2424-4C34-8B7C-205B3BB30EE9}" type="slidenum">
              <a:rPr lang="en-GB" smtClean="0"/>
              <a:t>‹#›</a:t>
            </a:fld>
            <a:endParaRPr lang="en-GB"/>
          </a:p>
        </p:txBody>
      </p:sp>
      <p:grpSp>
        <p:nvGrpSpPr>
          <p:cNvPr id="12" name="Group 11"/>
          <p:cNvGrpSpPr/>
          <p:nvPr/>
        </p:nvGrpSpPr>
        <p:grpSpPr>
          <a:xfrm>
            <a:off x="428626" y="4765500"/>
            <a:ext cx="8270405" cy="73820"/>
            <a:chOff x="428625" y="6281737"/>
            <a:chExt cx="8270405" cy="98426"/>
          </a:xfrm>
        </p:grpSpPr>
        <p:sp>
          <p:nvSpPr>
            <p:cNvPr id="4" name="Rectangle 3"/>
            <p:cNvSpPr/>
            <p:nvPr userDrawn="1"/>
          </p:nvSpPr>
          <p:spPr>
            <a:xfrm>
              <a:off x="428625" y="6281738"/>
              <a:ext cx="2757488" cy="9842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350"/>
            </a:p>
          </p:txBody>
        </p:sp>
        <p:sp>
          <p:nvSpPr>
            <p:cNvPr id="5" name="Rectangle 4"/>
            <p:cNvSpPr/>
            <p:nvPr userDrawn="1"/>
          </p:nvSpPr>
          <p:spPr>
            <a:xfrm>
              <a:off x="3184054" y="6281737"/>
              <a:ext cx="2757488" cy="9842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350"/>
            </a:p>
          </p:txBody>
        </p:sp>
        <p:sp>
          <p:nvSpPr>
            <p:cNvPr id="6" name="Rectangle 5"/>
            <p:cNvSpPr/>
            <p:nvPr userDrawn="1"/>
          </p:nvSpPr>
          <p:spPr>
            <a:xfrm>
              <a:off x="5941542" y="6281737"/>
              <a:ext cx="2757488" cy="98425"/>
            </a:xfrm>
            <a:prstGeom prst="rect">
              <a:avLst/>
            </a:prstGeom>
            <a:solidFill>
              <a:srgbClr val="92AB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350"/>
            </a:p>
          </p:txBody>
        </p:sp>
      </p:grp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726" y="0"/>
            <a:ext cx="1700213" cy="87153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00988" y="0"/>
            <a:ext cx="1028700" cy="871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7598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3953" r:id="rId2"/>
    <p:sldLayoutId id="2147483954" r:id="rId3"/>
    <p:sldLayoutId id="2147483955" r:id="rId4"/>
    <p:sldLayoutId id="2147483956" r:id="rId5"/>
    <p:sldLayoutId id="2147483957" r:id="rId6"/>
    <p:sldLayoutId id="2147483958" r:id="rId7"/>
    <p:sldLayoutId id="2147483959" r:id="rId8"/>
    <p:sldLayoutId id="2147483960" r:id="rId9"/>
    <p:sldLayoutId id="2147483961" r:id="rId10"/>
    <p:sldLayoutId id="2147483962" r:id="rId11"/>
    <p:sldLayoutId id="2147483963" r:id="rId12"/>
    <p:sldLayoutId id="2147483964" r:id="rId13"/>
    <p:sldLayoutId id="2147483965" r:id="rId14"/>
    <p:sldLayoutId id="2147483966" r:id="rId15"/>
    <p:sldLayoutId id="2147483967" r:id="rId16"/>
    <p:sldLayoutId id="2147483968" r:id="rId17"/>
    <p:sldLayoutId id="2147483969" r:id="rId18"/>
    <p:sldLayoutId id="2147483970" r:id="rId19"/>
    <p:sldLayoutId id="2147483971" r:id="rId20"/>
    <p:sldLayoutId id="2147483972" r:id="rId21"/>
    <p:sldLayoutId id="2147483973" r:id="rId22"/>
    <p:sldLayoutId id="2147483974" r:id="rId23"/>
    <p:sldLayoutId id="2147483975" r:id="rId24"/>
    <p:sldLayoutId id="2147483976" r:id="rId25"/>
    <p:sldLayoutId id="2147483977" r:id="rId26"/>
    <p:sldLayoutId id="2147483978" r:id="rId27"/>
  </p:sldLayoutIdLst>
  <p:hf hdr="0" ftr="0" dt="0"/>
  <p:txStyles>
    <p:titleStyle>
      <a:lvl1pPr algn="l" defTabSz="685800" rtl="0" eaLnBrk="1" latinLnBrk="0" hangingPunct="1">
        <a:spcBef>
          <a:spcPct val="0"/>
        </a:spcBef>
        <a:buNone/>
        <a:defRPr sz="15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35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05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»"/>
        <a:defRPr sz="105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52D2AFC-71C4-4511-B128-4ECEE52D3027}" type="slidenum">
              <a:rPr lang="en-ZA" smtClean="0"/>
              <a:pPr/>
              <a:t>‹#›</a:t>
            </a:fld>
            <a:endParaRPr lang="en-ZA" dirty="0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428625" y="4711700"/>
            <a:ext cx="8272464" cy="71438"/>
            <a:chOff x="428625" y="4711700"/>
            <a:chExt cx="8272464" cy="71438"/>
          </a:xfrm>
        </p:grpSpPr>
        <p:sp>
          <p:nvSpPr>
            <p:cNvPr id="3" name="Rectangle 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4" name="Rectangle 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rgbClr val="E306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sp>
          <p:nvSpPr>
            <p:cNvPr id="5" name="Rectangle 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rgbClr val="94BF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89" y="411164"/>
            <a:ext cx="431800" cy="431800"/>
          </a:xfrm>
          <a:prstGeom prst="rect">
            <a:avLst/>
          </a:prstGeom>
        </p:spPr>
      </p:pic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6614864" y="482760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ZA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4046583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0" r:id="rId1"/>
    <p:sldLayoutId id="2147483981" r:id="rId2"/>
    <p:sldLayoutId id="2147483982" r:id="rId3"/>
    <p:sldLayoutId id="2147483983" r:id="rId4"/>
    <p:sldLayoutId id="2147483984" r:id="rId5"/>
    <p:sldLayoutId id="2147483985" r:id="rId6"/>
    <p:sldLayoutId id="2147483986" r:id="rId7"/>
    <p:sldLayoutId id="2147483987" r:id="rId8"/>
    <p:sldLayoutId id="2147483988" r:id="rId9"/>
    <p:sldLayoutId id="2147483989" r:id="rId10"/>
    <p:sldLayoutId id="2147483990" r:id="rId11"/>
    <p:sldLayoutId id="2147483991" r:id="rId12"/>
    <p:sldLayoutId id="2147483992" r:id="rId1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8" name="think-cell Slide" r:id="rId9" imgW="470" imgH="469" progId="TCLayout.ActiveDocument.1">
                  <p:embed/>
                </p:oleObj>
              </mc:Choice>
              <mc:Fallback>
                <p:oleObj name="think-cell Slide" r:id="rId9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45859" y="1919235"/>
            <a:ext cx="7594957" cy="28123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406983" y="341065"/>
            <a:ext cx="474717" cy="474717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1045859" y="286047"/>
            <a:ext cx="7594958" cy="5473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464820" y="4850645"/>
            <a:ext cx="8214360" cy="4445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1268CB58-766F-413B-8D6F-8EFF102E1BA6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57246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200" kern="120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FF0000"/>
        </a:buClr>
        <a:buFont typeface="Wingdings" charset="2"/>
        <a:buChar char="§"/>
        <a:defRPr sz="2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FF0000"/>
        </a:buClr>
        <a:buFont typeface="Wingdings" charset="2"/>
        <a:buChar char="§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rgbClr val="FF0000"/>
        </a:buClr>
        <a:buFont typeface="Wingdings" charset="2"/>
        <a:buChar char="§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rgbClr val="FF0000"/>
        </a:buClr>
        <a:buFont typeface="Wingdings" charset="2"/>
        <a:buChar char="§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rgbClr val="FF0000"/>
        </a:buClr>
        <a:buFont typeface="Wingdings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428625" y="4711700"/>
            <a:ext cx="8272464" cy="71438"/>
            <a:chOff x="428625" y="4711700"/>
            <a:chExt cx="8272464" cy="71438"/>
          </a:xfrm>
        </p:grpSpPr>
        <p:sp>
          <p:nvSpPr>
            <p:cNvPr id="3" name="Rectangle 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>
                <a:solidFill>
                  <a:srgbClr val="FFFFFF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rgbClr val="E306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rgbClr val="94BF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>
                <a:solidFill>
                  <a:srgbClr val="FFFFFF"/>
                </a:solidFill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89" y="411164"/>
            <a:ext cx="431800" cy="43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7350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420688" y="4755420"/>
            <a:ext cx="8272464" cy="71438"/>
            <a:chOff x="428625" y="4711700"/>
            <a:chExt cx="8272464" cy="71438"/>
          </a:xfrm>
        </p:grpSpPr>
        <p:sp>
          <p:nvSpPr>
            <p:cNvPr id="3" name="Rectangle 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>
                <a:solidFill>
                  <a:srgbClr val="FFFFFF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rgbClr val="E306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rgbClr val="94BF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>
                <a:solidFill>
                  <a:srgbClr val="FFFFFF"/>
                </a:solidFill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89" y="411164"/>
            <a:ext cx="431800" cy="431800"/>
          </a:xfrm>
          <a:prstGeom prst="rect">
            <a:avLst/>
          </a:prstGeom>
        </p:spPr>
      </p:pic>
      <p:sp>
        <p:nvSpPr>
          <p:cNvPr id="8" name="Slide Number Placeholder 2"/>
          <p:cNvSpPr txBox="1">
            <a:spLocks/>
          </p:cNvSpPr>
          <p:nvPr userDrawn="1"/>
        </p:nvSpPr>
        <p:spPr>
          <a:xfrm>
            <a:off x="7812360" y="4805048"/>
            <a:ext cx="98607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ZA" dirty="0">
                <a:solidFill>
                  <a:srgbClr val="5C5C5C">
                    <a:tint val="75000"/>
                  </a:srgbClr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8695244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20688" y="4826859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428625" y="4711701"/>
            <a:ext cx="8272464" cy="71438"/>
            <a:chOff x="428625" y="4711700"/>
            <a:chExt cx="8272464" cy="71438"/>
          </a:xfrm>
        </p:grpSpPr>
        <p:sp>
          <p:nvSpPr>
            <p:cNvPr id="3" name="Rectangle 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>
                <a:solidFill>
                  <a:srgbClr val="FFFFFF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rgbClr val="E306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rgbClr val="94BF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>
                <a:solidFill>
                  <a:srgbClr val="FFFFFF"/>
                </a:solidFill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080" y="467790"/>
            <a:ext cx="431800" cy="43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060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  <p:sldLayoutId id="2147483848" r:id="rId9"/>
    <p:sldLayoutId id="2147483934" r:id="rId10"/>
    <p:sldLayoutId id="2147483935" r:id="rId11"/>
  </p:sldLayoutIdLst>
  <p:hf hdr="0" ftr="0" dt="0"/>
  <p:txStyles>
    <p:titleStyle>
      <a:lvl1pPr algn="l" defTabSz="914378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20688" y="4826859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428625" y="4711701"/>
            <a:ext cx="8272464" cy="71438"/>
            <a:chOff x="428625" y="4711700"/>
            <a:chExt cx="8272464" cy="71438"/>
          </a:xfrm>
        </p:grpSpPr>
        <p:sp>
          <p:nvSpPr>
            <p:cNvPr id="3" name="Rectangle 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>
                <a:solidFill>
                  <a:srgbClr val="FFFFFF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rgbClr val="E306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rgbClr val="94BF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800">
                <a:solidFill>
                  <a:srgbClr val="FFFFFF"/>
                </a:solidFill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89" y="411165"/>
            <a:ext cx="431800" cy="43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5041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6" r:id="rId1"/>
    <p:sldLayoutId id="2147483857" r:id="rId2"/>
    <p:sldLayoutId id="2147483858" r:id="rId3"/>
    <p:sldLayoutId id="2147483859" r:id="rId4"/>
    <p:sldLayoutId id="2147483860" r:id="rId5"/>
    <p:sldLayoutId id="2147483861" r:id="rId6"/>
    <p:sldLayoutId id="2147483862" r:id="rId7"/>
    <p:sldLayoutId id="2147483863" r:id="rId8"/>
    <p:sldLayoutId id="2147483864" r:id="rId9"/>
  </p:sldLayoutIdLst>
  <p:hf hdr="0" ftr="0" dt="0"/>
  <p:txStyles>
    <p:titleStyle>
      <a:lvl1pPr algn="l" defTabSz="914378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892" indent="-342892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31" indent="-285743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2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348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5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8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2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7763" y="1696720"/>
            <a:ext cx="7493053" cy="2824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5083" y="490483"/>
            <a:ext cx="474717" cy="474717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1147763" y="1149351"/>
            <a:ext cx="7493054" cy="5473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4820" y="4643120"/>
            <a:ext cx="8214360" cy="44450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231F87C6-8F4B-C14F-952F-C5F8DB9F27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4263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7763" y="1696720"/>
            <a:ext cx="7493053" cy="28244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5083" y="490483"/>
            <a:ext cx="474717" cy="474717"/>
          </a:xfrm>
          <a:prstGeom prst="rect">
            <a:avLst/>
          </a:prstGeom>
        </p:spPr>
      </p:pic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1147763" y="1149351"/>
            <a:ext cx="7493054" cy="5473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4820" y="4643120"/>
            <a:ext cx="8214360" cy="44450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231F87C6-8F4B-C14F-952F-C5F8DB9F27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9776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0" r:id="rId1"/>
    <p:sldLayoutId id="2147483881" r:id="rId2"/>
    <p:sldLayoutId id="2147483882" r:id="rId3"/>
    <p:sldLayoutId id="2147483883" r:id="rId4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20688" y="4826858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428625" y="4711700"/>
            <a:ext cx="8272464" cy="71438"/>
            <a:chOff x="428625" y="4711700"/>
            <a:chExt cx="8272464" cy="71438"/>
          </a:xfrm>
        </p:grpSpPr>
        <p:sp>
          <p:nvSpPr>
            <p:cNvPr id="3" name="Rectangle 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>
                <a:solidFill>
                  <a:srgbClr val="FFFFFF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rgbClr val="E306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rgbClr val="94BF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>
                <a:solidFill>
                  <a:srgbClr val="FFFFFF"/>
                </a:solidFill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483518"/>
            <a:ext cx="431800" cy="431800"/>
          </a:xfrm>
          <a:prstGeom prst="rect">
            <a:avLst/>
          </a:prstGeom>
        </p:spPr>
      </p:pic>
      <p:sp>
        <p:nvSpPr>
          <p:cNvPr id="9" name="Slide Number Placeholder 2"/>
          <p:cNvSpPr txBox="1">
            <a:spLocks/>
          </p:cNvSpPr>
          <p:nvPr userDrawn="1"/>
        </p:nvSpPr>
        <p:spPr>
          <a:xfrm>
            <a:off x="7812360" y="4805048"/>
            <a:ext cx="98607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ZA" dirty="0">
                <a:solidFill>
                  <a:srgbClr val="5C5C5C">
                    <a:tint val="75000"/>
                  </a:srgbClr>
                </a:solidFill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47918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400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8.xml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8.xml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19.pn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6.xml"/><Relationship Id="rId6" Type="http://schemas.microsoft.com/office/2007/relationships/hdphoto" Target="../media/hdphoto2.wdp"/><Relationship Id="rId5" Type="http://schemas.openxmlformats.org/officeDocument/2006/relationships/image" Target="../media/image20.png"/><Relationship Id="rId4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 descr="African-couple.jpg"/>
          <p:cNvPicPr>
            <a:picLocks noGrp="1" noChangeAspect="1"/>
          </p:cNvPicPr>
          <p:nvPr>
            <p:ph type="pic" sz="quarter" idx="10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" b="44"/>
          <a:stretch>
            <a:fillRect/>
          </a:stretch>
        </p:blipFill>
        <p:spPr/>
      </p:pic>
      <p:grpSp>
        <p:nvGrpSpPr>
          <p:cNvPr id="6" name="Group 5"/>
          <p:cNvGrpSpPr/>
          <p:nvPr/>
        </p:nvGrpSpPr>
        <p:grpSpPr>
          <a:xfrm>
            <a:off x="428625" y="490483"/>
            <a:ext cx="8272464" cy="4292655"/>
            <a:chOff x="428625" y="490483"/>
            <a:chExt cx="8272464" cy="4292655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61401" y="490483"/>
              <a:ext cx="904240" cy="904240"/>
            </a:xfrm>
            <a:prstGeom prst="rect">
              <a:avLst/>
            </a:prstGeom>
          </p:spPr>
        </p:pic>
        <p:grpSp>
          <p:nvGrpSpPr>
            <p:cNvPr id="8" name="Group 7"/>
            <p:cNvGrpSpPr/>
            <p:nvPr/>
          </p:nvGrpSpPr>
          <p:grpSpPr>
            <a:xfrm>
              <a:off x="428625" y="4711700"/>
              <a:ext cx="8272464" cy="71438"/>
              <a:chOff x="428625" y="4711700"/>
              <a:chExt cx="8272464" cy="71438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428625" y="4711700"/>
                <a:ext cx="2757488" cy="71438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/>
                  <a:ea typeface="+mn-ea"/>
                  <a:cs typeface="+mn-cs"/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3186113" y="4711700"/>
                <a:ext cx="2757488" cy="71438"/>
              </a:xfrm>
              <a:prstGeom prst="rect">
                <a:avLst/>
              </a:prstGeom>
              <a:solidFill>
                <a:srgbClr val="E3061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/>
                  <a:ea typeface="+mn-ea"/>
                  <a:cs typeface="+mn-cs"/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5943601" y="4711700"/>
                <a:ext cx="2757488" cy="71438"/>
              </a:xfrm>
              <a:prstGeom prst="rect">
                <a:avLst/>
              </a:prstGeom>
              <a:solidFill>
                <a:srgbClr val="94BF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imes New Roman"/>
                  <a:ea typeface="+mn-ea"/>
                  <a:cs typeface="+mn-cs"/>
                </a:endParaRPr>
              </a:p>
            </p:txBody>
          </p:sp>
        </p:grpSp>
      </p:grpSp>
      <p:sp>
        <p:nvSpPr>
          <p:cNvPr id="14" name="Title 2"/>
          <p:cNvSpPr>
            <a:spLocks noGrp="1"/>
          </p:cNvSpPr>
          <p:nvPr>
            <p:ph type="ctrTitle"/>
          </p:nvPr>
        </p:nvSpPr>
        <p:spPr>
          <a:xfrm>
            <a:off x="2051720" y="2031923"/>
            <a:ext cx="6234480" cy="999591"/>
          </a:xfrm>
        </p:spPr>
        <p:txBody>
          <a:bodyPr/>
          <a:lstStyle/>
          <a:p>
            <a:r>
              <a:rPr lang="en-US" dirty="0" err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Modernising</a:t>
            </a:r>
            <a:r>
              <a:rPr lang="en-US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Regulatory Frameworks</a:t>
            </a:r>
          </a:p>
        </p:txBody>
      </p:sp>
      <p:sp>
        <p:nvSpPr>
          <p:cNvPr id="15" name="Subtitle 3"/>
          <p:cNvSpPr>
            <a:spLocks noGrp="1"/>
          </p:cNvSpPr>
          <p:nvPr>
            <p:ph type="subTitle" idx="1"/>
          </p:nvPr>
        </p:nvSpPr>
        <p:spPr>
          <a:xfrm>
            <a:off x="2083345" y="3192235"/>
            <a:ext cx="6233160" cy="679372"/>
          </a:xfrm>
        </p:spPr>
        <p:txBody>
          <a:bodyPr/>
          <a:lstStyle/>
          <a:p>
            <a:r>
              <a:rPr lang="en-US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Veena Rawat, Senior Policy Advisor, GSMA</a:t>
            </a:r>
          </a:p>
        </p:txBody>
      </p:sp>
    </p:spTree>
    <p:extLst>
      <p:ext uri="{BB962C8B-B14F-4D97-AF65-F5344CB8AC3E}">
        <p14:creationId xmlns:p14="http://schemas.microsoft.com/office/powerpoint/2010/main" val="35209712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819316" y="346348"/>
            <a:ext cx="8289188" cy="569218"/>
          </a:xfrm>
        </p:spPr>
        <p:txBody>
          <a:bodyPr>
            <a:noAutofit/>
          </a:bodyPr>
          <a:lstStyle/>
          <a:p>
            <a:r>
              <a:rPr lang="en-GB" sz="2800" dirty="0"/>
              <a:t>Mobile Is at the Heart of the Digital Experience</a:t>
            </a:r>
          </a:p>
        </p:txBody>
      </p:sp>
      <p:pic>
        <p:nvPicPr>
          <p:cNvPr id="9218" name="Picture 2" descr="https://uc166ac959fd908a631562752292.previews.dropboxusercontent.com/p/thumb/AAd0JtwWXtsbPE7wH-xOoZAkmE-qR35sXDnJW4sa9OqkObb3hGgA9u89CnUYbMqITb95bToUs1IFS2V6HSzp-tZqJm_OSCmLzI0U6xPFK4vptnuxieGDnPg_ELdzKbsRDEvehQJvTHatB67_Yw9cbv7vmJ1vbW_A_0gvYCY0oz7Pkf4woi7YNyWXa7c8VLLNWUEXeP3T5AzJTAinjbafxt6B0RYeSdWBrhXJclMmBva7Of3rJvMdodnJSBhVQT27QFkpXJkWMnKZfHidLhrn87OvNTvVBJXjjt8ITiqj-HGfJYPMlVjS17787JTZAL3xIss7ISf3yNxoljMBcpr5qw-kHhXmCPCTZNFMGlov33kHIQ/p.jpeg?fv_content=true&amp;size_mode=5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9" y="1392980"/>
            <a:ext cx="3423381" cy="22858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0" name="Picture 4" descr="https://uc5d9f00605b4577fabdcb564273.previews.dropboxusercontent.com/p/thumb/AAdgQEMdfspmGJDMOGf6XsqWDlixM8bD-DD4b1cHkXSJVzvpg0Y5jDCN7fo9JUWsClsvM5cvX5Bh6mt4lDG8XlH0kQf91lHqB9IOTgA01KwwYO4GzDlsA1VjfJHyrytFNk463AJuCcqdRIdVB-Z0CqsVwoNS9kCnDYAL1fqE6X1IPBAxKjIFC0-Be2yovRlna1rHt7weUP7bNi7Y9MXn7-b4Li3AusGRWxWsEJR8xkJcaOBW0DijUd6_UEViXkydQ2v0SIgl80mmHMifAVNbCYjmTQfCXaM-VmoLiJ5j4xoWCciLwTc9AAu2vOqLGz3I8mS-4OWFvjaXVV4JPxbkRSWp1WvlT_jNjcjdgUGmEDSv7TM2_NiJs3p5voI0mw9m0LhoOPER5NxWl4hBEWQCU7wU7BJwADv1OPHajoAkM42EkA/p.jpeg?fv_content=true&amp;size_mode=5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22329" y="1394227"/>
            <a:ext cx="3421671" cy="22833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22" name="Picture 6" descr="https://uccc8e6507a682de99f48cfca1d8.previews.dropboxusercontent.com/p/thumb/AAfV_uUsdLohhAEtw5uFSdRAcJjoXB4CTb1TxGkknACUdiyvy72sLhdWmEdAfiuplb_O2oxyxKJQgCMyXck0W0H2WLgrJ5aJZMnIV0l4qyHWhsMAnj6XdBGQSGx_TSfWaUwA3y7xeG99vvcoBkn7CVqQKrREZDJwxn_4NOiiuovYBzl9LYnZY58Rl8M78M88l28UJFZBHEDrT0o4qeGEsWPLAENnHfGOS63qZFfF2ffdIHaptZcmoPpSuKRIAGyVlHFyx9NCzIyXmOF54gJP0rL4XvWDMIIR-O_bDxlJ71IAeUrbGt7zB5z44r587HXey-6q42YfLB0rS3RPYpnTM-Mqx3TZKiY96UQK5OVCj6pRaA/p.jpeg?fv_content=true&amp;size_mode=5"/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167844" y="1383618"/>
            <a:ext cx="2707053" cy="2292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7"/>
          <p:cNvSpPr/>
          <p:nvPr/>
        </p:nvSpPr>
        <p:spPr>
          <a:xfrm rot="19063990">
            <a:off x="217396" y="3315445"/>
            <a:ext cx="1275941" cy="1275941"/>
          </a:xfrm>
          <a:custGeom>
            <a:avLst/>
            <a:gdLst>
              <a:gd name="connsiteX0" fmla="*/ 0 w 1162992"/>
              <a:gd name="connsiteY0" fmla="*/ 581496 h 1162992"/>
              <a:gd name="connsiteX1" fmla="*/ 581496 w 1162992"/>
              <a:gd name="connsiteY1" fmla="*/ 0 h 1162992"/>
              <a:gd name="connsiteX2" fmla="*/ 1162992 w 1162992"/>
              <a:gd name="connsiteY2" fmla="*/ 581496 h 1162992"/>
              <a:gd name="connsiteX3" fmla="*/ 581496 w 1162992"/>
              <a:gd name="connsiteY3" fmla="*/ 1162992 h 1162992"/>
              <a:gd name="connsiteX4" fmla="*/ 0 w 1162992"/>
              <a:gd name="connsiteY4" fmla="*/ 581496 h 1162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2992" h="1162992">
                <a:moveTo>
                  <a:pt x="0" y="581496"/>
                </a:moveTo>
                <a:cubicBezTo>
                  <a:pt x="0" y="260345"/>
                  <a:pt x="260345" y="0"/>
                  <a:pt x="581496" y="0"/>
                </a:cubicBezTo>
                <a:cubicBezTo>
                  <a:pt x="902647" y="0"/>
                  <a:pt x="1162992" y="260345"/>
                  <a:pt x="1162992" y="581496"/>
                </a:cubicBezTo>
                <a:cubicBezTo>
                  <a:pt x="1162992" y="902647"/>
                  <a:pt x="902647" y="1162992"/>
                  <a:pt x="581496" y="1162992"/>
                </a:cubicBezTo>
                <a:cubicBezTo>
                  <a:pt x="260345" y="1162992"/>
                  <a:pt x="0" y="902647"/>
                  <a:pt x="0" y="581496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38100"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27737" tIns="136310" rIns="127737" bIns="136310" numCol="1" spcCol="1270" anchor="ctr" anchorCtr="0">
            <a:noAutofit/>
          </a:bodyPr>
          <a:lstStyle/>
          <a:p>
            <a:pPr algn="ctr" defTabSz="30003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50" b="1" dirty="0">
                <a:solidFill>
                  <a:srgbClr val="FFFFFF"/>
                </a:solidFill>
                <a:latin typeface="Arial"/>
              </a:rPr>
              <a:t>Messaging</a:t>
            </a:r>
          </a:p>
        </p:txBody>
      </p:sp>
      <p:sp>
        <p:nvSpPr>
          <p:cNvPr id="9" name="Freeform 8"/>
          <p:cNvSpPr/>
          <p:nvPr/>
        </p:nvSpPr>
        <p:spPr>
          <a:xfrm rot="19063990">
            <a:off x="1146532" y="3315445"/>
            <a:ext cx="1275941" cy="1275941"/>
          </a:xfrm>
          <a:custGeom>
            <a:avLst/>
            <a:gdLst>
              <a:gd name="connsiteX0" fmla="*/ 0 w 1162992"/>
              <a:gd name="connsiteY0" fmla="*/ 581496 h 1162992"/>
              <a:gd name="connsiteX1" fmla="*/ 581496 w 1162992"/>
              <a:gd name="connsiteY1" fmla="*/ 0 h 1162992"/>
              <a:gd name="connsiteX2" fmla="*/ 1162992 w 1162992"/>
              <a:gd name="connsiteY2" fmla="*/ 581496 h 1162992"/>
              <a:gd name="connsiteX3" fmla="*/ 581496 w 1162992"/>
              <a:gd name="connsiteY3" fmla="*/ 1162992 h 1162992"/>
              <a:gd name="connsiteX4" fmla="*/ 0 w 1162992"/>
              <a:gd name="connsiteY4" fmla="*/ 581496 h 1162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2992" h="1162992">
                <a:moveTo>
                  <a:pt x="0" y="581496"/>
                </a:moveTo>
                <a:cubicBezTo>
                  <a:pt x="0" y="260345"/>
                  <a:pt x="260345" y="0"/>
                  <a:pt x="581496" y="0"/>
                </a:cubicBezTo>
                <a:cubicBezTo>
                  <a:pt x="902647" y="0"/>
                  <a:pt x="1162992" y="260345"/>
                  <a:pt x="1162992" y="581496"/>
                </a:cubicBezTo>
                <a:cubicBezTo>
                  <a:pt x="1162992" y="902647"/>
                  <a:pt x="902647" y="1162992"/>
                  <a:pt x="581496" y="1162992"/>
                </a:cubicBezTo>
                <a:cubicBezTo>
                  <a:pt x="260345" y="1162992"/>
                  <a:pt x="0" y="902647"/>
                  <a:pt x="0" y="581496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38100"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27737" tIns="136310" rIns="127737" bIns="136310" numCol="1" spcCol="1270" anchor="ctr" anchorCtr="0">
            <a:noAutofit/>
          </a:bodyPr>
          <a:lstStyle/>
          <a:p>
            <a:pPr algn="ctr" defTabSz="30003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50" b="1" dirty="0">
                <a:solidFill>
                  <a:srgbClr val="FFFFFF"/>
                </a:solidFill>
                <a:latin typeface="Arial"/>
              </a:rPr>
              <a:t>Voice calling</a:t>
            </a:r>
          </a:p>
        </p:txBody>
      </p:sp>
      <p:sp>
        <p:nvSpPr>
          <p:cNvPr id="15" name="Freeform 14"/>
          <p:cNvSpPr/>
          <p:nvPr/>
        </p:nvSpPr>
        <p:spPr>
          <a:xfrm rot="19063990">
            <a:off x="2076355" y="3315445"/>
            <a:ext cx="1275941" cy="1275941"/>
          </a:xfrm>
          <a:custGeom>
            <a:avLst/>
            <a:gdLst>
              <a:gd name="connsiteX0" fmla="*/ 0 w 1162992"/>
              <a:gd name="connsiteY0" fmla="*/ 581496 h 1162992"/>
              <a:gd name="connsiteX1" fmla="*/ 581496 w 1162992"/>
              <a:gd name="connsiteY1" fmla="*/ 0 h 1162992"/>
              <a:gd name="connsiteX2" fmla="*/ 1162992 w 1162992"/>
              <a:gd name="connsiteY2" fmla="*/ 581496 h 1162992"/>
              <a:gd name="connsiteX3" fmla="*/ 581496 w 1162992"/>
              <a:gd name="connsiteY3" fmla="*/ 1162992 h 1162992"/>
              <a:gd name="connsiteX4" fmla="*/ 0 w 1162992"/>
              <a:gd name="connsiteY4" fmla="*/ 581496 h 1162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2992" h="1162992">
                <a:moveTo>
                  <a:pt x="0" y="581496"/>
                </a:moveTo>
                <a:cubicBezTo>
                  <a:pt x="0" y="260345"/>
                  <a:pt x="260345" y="0"/>
                  <a:pt x="581496" y="0"/>
                </a:cubicBezTo>
                <a:cubicBezTo>
                  <a:pt x="902647" y="0"/>
                  <a:pt x="1162992" y="260345"/>
                  <a:pt x="1162992" y="581496"/>
                </a:cubicBezTo>
                <a:cubicBezTo>
                  <a:pt x="1162992" y="902647"/>
                  <a:pt x="902647" y="1162992"/>
                  <a:pt x="581496" y="1162992"/>
                </a:cubicBezTo>
                <a:cubicBezTo>
                  <a:pt x="260345" y="1162992"/>
                  <a:pt x="0" y="902647"/>
                  <a:pt x="0" y="581496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38100"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27737" tIns="136310" rIns="127737" bIns="136310" numCol="1" spcCol="1270" anchor="ctr" anchorCtr="0">
            <a:noAutofit/>
          </a:bodyPr>
          <a:lstStyle/>
          <a:p>
            <a:pPr algn="ctr" defTabSz="30003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50" b="1" dirty="0">
                <a:solidFill>
                  <a:srgbClr val="FFFFFF"/>
                </a:solidFill>
                <a:latin typeface="Arial"/>
              </a:rPr>
              <a:t>Apps and services</a:t>
            </a:r>
          </a:p>
        </p:txBody>
      </p:sp>
      <p:sp>
        <p:nvSpPr>
          <p:cNvPr id="13" name="Freeform 12"/>
          <p:cNvSpPr/>
          <p:nvPr/>
        </p:nvSpPr>
        <p:spPr>
          <a:xfrm rot="19063990">
            <a:off x="3007341" y="3315445"/>
            <a:ext cx="1275941" cy="1275941"/>
          </a:xfrm>
          <a:custGeom>
            <a:avLst/>
            <a:gdLst>
              <a:gd name="connsiteX0" fmla="*/ 0 w 1162992"/>
              <a:gd name="connsiteY0" fmla="*/ 581496 h 1162992"/>
              <a:gd name="connsiteX1" fmla="*/ 581496 w 1162992"/>
              <a:gd name="connsiteY1" fmla="*/ 0 h 1162992"/>
              <a:gd name="connsiteX2" fmla="*/ 1162992 w 1162992"/>
              <a:gd name="connsiteY2" fmla="*/ 581496 h 1162992"/>
              <a:gd name="connsiteX3" fmla="*/ 581496 w 1162992"/>
              <a:gd name="connsiteY3" fmla="*/ 1162992 h 1162992"/>
              <a:gd name="connsiteX4" fmla="*/ 0 w 1162992"/>
              <a:gd name="connsiteY4" fmla="*/ 581496 h 1162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2992" h="1162992">
                <a:moveTo>
                  <a:pt x="0" y="581496"/>
                </a:moveTo>
                <a:cubicBezTo>
                  <a:pt x="0" y="260345"/>
                  <a:pt x="260345" y="0"/>
                  <a:pt x="581496" y="0"/>
                </a:cubicBezTo>
                <a:cubicBezTo>
                  <a:pt x="902647" y="0"/>
                  <a:pt x="1162992" y="260345"/>
                  <a:pt x="1162992" y="581496"/>
                </a:cubicBezTo>
                <a:cubicBezTo>
                  <a:pt x="1162992" y="902647"/>
                  <a:pt x="902647" y="1162992"/>
                  <a:pt x="581496" y="1162992"/>
                </a:cubicBezTo>
                <a:cubicBezTo>
                  <a:pt x="260345" y="1162992"/>
                  <a:pt x="0" y="902647"/>
                  <a:pt x="0" y="581496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38100"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27737" tIns="136310" rIns="127737" bIns="136310" numCol="1" spcCol="1270" anchor="ctr" anchorCtr="0">
            <a:noAutofit/>
          </a:bodyPr>
          <a:lstStyle/>
          <a:p>
            <a:pPr algn="ctr" defTabSz="30003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50" b="1" dirty="0">
                <a:solidFill>
                  <a:srgbClr val="FFFFFF"/>
                </a:solidFill>
                <a:latin typeface="Arial"/>
              </a:rPr>
              <a:t>E-government</a:t>
            </a:r>
          </a:p>
        </p:txBody>
      </p:sp>
      <p:sp>
        <p:nvSpPr>
          <p:cNvPr id="10" name="Freeform 9"/>
          <p:cNvSpPr/>
          <p:nvPr/>
        </p:nvSpPr>
        <p:spPr>
          <a:xfrm rot="19063990">
            <a:off x="3938326" y="3315445"/>
            <a:ext cx="1275941" cy="1275941"/>
          </a:xfrm>
          <a:custGeom>
            <a:avLst/>
            <a:gdLst>
              <a:gd name="connsiteX0" fmla="*/ 0 w 1162992"/>
              <a:gd name="connsiteY0" fmla="*/ 581496 h 1162992"/>
              <a:gd name="connsiteX1" fmla="*/ 581496 w 1162992"/>
              <a:gd name="connsiteY1" fmla="*/ 0 h 1162992"/>
              <a:gd name="connsiteX2" fmla="*/ 1162992 w 1162992"/>
              <a:gd name="connsiteY2" fmla="*/ 581496 h 1162992"/>
              <a:gd name="connsiteX3" fmla="*/ 581496 w 1162992"/>
              <a:gd name="connsiteY3" fmla="*/ 1162992 h 1162992"/>
              <a:gd name="connsiteX4" fmla="*/ 0 w 1162992"/>
              <a:gd name="connsiteY4" fmla="*/ 581496 h 1162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2992" h="1162992">
                <a:moveTo>
                  <a:pt x="0" y="581496"/>
                </a:moveTo>
                <a:cubicBezTo>
                  <a:pt x="0" y="260345"/>
                  <a:pt x="260345" y="0"/>
                  <a:pt x="581496" y="0"/>
                </a:cubicBezTo>
                <a:cubicBezTo>
                  <a:pt x="902647" y="0"/>
                  <a:pt x="1162992" y="260345"/>
                  <a:pt x="1162992" y="581496"/>
                </a:cubicBezTo>
                <a:cubicBezTo>
                  <a:pt x="1162992" y="902647"/>
                  <a:pt x="902647" y="1162992"/>
                  <a:pt x="581496" y="1162992"/>
                </a:cubicBezTo>
                <a:cubicBezTo>
                  <a:pt x="260345" y="1162992"/>
                  <a:pt x="0" y="902647"/>
                  <a:pt x="0" y="581496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38100"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27737" tIns="136310" rIns="127737" bIns="136310" numCol="1" spcCol="1270" anchor="ctr" anchorCtr="0">
            <a:noAutofit/>
          </a:bodyPr>
          <a:lstStyle/>
          <a:p>
            <a:pPr algn="ctr" defTabSz="30003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50" b="1" dirty="0">
                <a:solidFill>
                  <a:srgbClr val="FFFFFF"/>
                </a:solidFill>
                <a:latin typeface="Arial"/>
              </a:rPr>
              <a:t>Personal finance</a:t>
            </a:r>
          </a:p>
        </p:txBody>
      </p:sp>
      <p:sp>
        <p:nvSpPr>
          <p:cNvPr id="12" name="Freeform 11"/>
          <p:cNvSpPr/>
          <p:nvPr/>
        </p:nvSpPr>
        <p:spPr>
          <a:xfrm rot="19063990">
            <a:off x="4872326" y="3315445"/>
            <a:ext cx="1275941" cy="1275941"/>
          </a:xfrm>
          <a:custGeom>
            <a:avLst/>
            <a:gdLst>
              <a:gd name="connsiteX0" fmla="*/ 0 w 1162992"/>
              <a:gd name="connsiteY0" fmla="*/ 581496 h 1162992"/>
              <a:gd name="connsiteX1" fmla="*/ 581496 w 1162992"/>
              <a:gd name="connsiteY1" fmla="*/ 0 h 1162992"/>
              <a:gd name="connsiteX2" fmla="*/ 1162992 w 1162992"/>
              <a:gd name="connsiteY2" fmla="*/ 581496 h 1162992"/>
              <a:gd name="connsiteX3" fmla="*/ 581496 w 1162992"/>
              <a:gd name="connsiteY3" fmla="*/ 1162992 h 1162992"/>
              <a:gd name="connsiteX4" fmla="*/ 0 w 1162992"/>
              <a:gd name="connsiteY4" fmla="*/ 581496 h 1162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2992" h="1162992">
                <a:moveTo>
                  <a:pt x="0" y="581496"/>
                </a:moveTo>
                <a:cubicBezTo>
                  <a:pt x="0" y="260345"/>
                  <a:pt x="260345" y="0"/>
                  <a:pt x="581496" y="0"/>
                </a:cubicBezTo>
                <a:cubicBezTo>
                  <a:pt x="902647" y="0"/>
                  <a:pt x="1162992" y="260345"/>
                  <a:pt x="1162992" y="581496"/>
                </a:cubicBezTo>
                <a:cubicBezTo>
                  <a:pt x="1162992" y="902647"/>
                  <a:pt x="902647" y="1162992"/>
                  <a:pt x="581496" y="1162992"/>
                </a:cubicBezTo>
                <a:cubicBezTo>
                  <a:pt x="260345" y="1162992"/>
                  <a:pt x="0" y="902647"/>
                  <a:pt x="0" y="581496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38100"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27737" tIns="136310" rIns="127737" bIns="136310" numCol="1" spcCol="1270" anchor="ctr" anchorCtr="0">
            <a:noAutofit/>
          </a:bodyPr>
          <a:lstStyle/>
          <a:p>
            <a:pPr algn="ctr" defTabSz="30003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50" b="1" dirty="0">
                <a:solidFill>
                  <a:srgbClr val="FFFFFF"/>
                </a:solidFill>
                <a:latin typeface="Arial"/>
              </a:rPr>
              <a:t>Transportation</a:t>
            </a:r>
          </a:p>
        </p:txBody>
      </p:sp>
      <p:sp>
        <p:nvSpPr>
          <p:cNvPr id="14" name="Freeform 13"/>
          <p:cNvSpPr/>
          <p:nvPr/>
        </p:nvSpPr>
        <p:spPr>
          <a:xfrm rot="19063990">
            <a:off x="5806326" y="3315445"/>
            <a:ext cx="1275941" cy="1275941"/>
          </a:xfrm>
          <a:custGeom>
            <a:avLst/>
            <a:gdLst>
              <a:gd name="connsiteX0" fmla="*/ 0 w 1162992"/>
              <a:gd name="connsiteY0" fmla="*/ 581496 h 1162992"/>
              <a:gd name="connsiteX1" fmla="*/ 581496 w 1162992"/>
              <a:gd name="connsiteY1" fmla="*/ 0 h 1162992"/>
              <a:gd name="connsiteX2" fmla="*/ 1162992 w 1162992"/>
              <a:gd name="connsiteY2" fmla="*/ 581496 h 1162992"/>
              <a:gd name="connsiteX3" fmla="*/ 581496 w 1162992"/>
              <a:gd name="connsiteY3" fmla="*/ 1162992 h 1162992"/>
              <a:gd name="connsiteX4" fmla="*/ 0 w 1162992"/>
              <a:gd name="connsiteY4" fmla="*/ 581496 h 1162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2992" h="1162992">
                <a:moveTo>
                  <a:pt x="0" y="581496"/>
                </a:moveTo>
                <a:cubicBezTo>
                  <a:pt x="0" y="260345"/>
                  <a:pt x="260345" y="0"/>
                  <a:pt x="581496" y="0"/>
                </a:cubicBezTo>
                <a:cubicBezTo>
                  <a:pt x="902647" y="0"/>
                  <a:pt x="1162992" y="260345"/>
                  <a:pt x="1162992" y="581496"/>
                </a:cubicBezTo>
                <a:cubicBezTo>
                  <a:pt x="1162992" y="902647"/>
                  <a:pt x="902647" y="1162992"/>
                  <a:pt x="581496" y="1162992"/>
                </a:cubicBezTo>
                <a:cubicBezTo>
                  <a:pt x="260345" y="1162992"/>
                  <a:pt x="0" y="902647"/>
                  <a:pt x="0" y="581496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38100"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27737" tIns="136310" rIns="127737" bIns="136310" numCol="1" spcCol="1270" anchor="ctr" anchorCtr="0">
            <a:noAutofit/>
          </a:bodyPr>
          <a:lstStyle/>
          <a:p>
            <a:pPr algn="ctr" defTabSz="30003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50" b="1" dirty="0">
                <a:solidFill>
                  <a:srgbClr val="FFFFFF"/>
                </a:solidFill>
                <a:latin typeface="Arial"/>
              </a:rPr>
              <a:t>Gaming</a:t>
            </a:r>
          </a:p>
        </p:txBody>
      </p:sp>
      <p:sp>
        <p:nvSpPr>
          <p:cNvPr id="16" name="Freeform 15"/>
          <p:cNvSpPr/>
          <p:nvPr/>
        </p:nvSpPr>
        <p:spPr>
          <a:xfrm rot="19063990">
            <a:off x="6738797" y="3315445"/>
            <a:ext cx="1275941" cy="1275941"/>
          </a:xfrm>
          <a:custGeom>
            <a:avLst/>
            <a:gdLst>
              <a:gd name="connsiteX0" fmla="*/ 0 w 1162992"/>
              <a:gd name="connsiteY0" fmla="*/ 581496 h 1162992"/>
              <a:gd name="connsiteX1" fmla="*/ 581496 w 1162992"/>
              <a:gd name="connsiteY1" fmla="*/ 0 h 1162992"/>
              <a:gd name="connsiteX2" fmla="*/ 1162992 w 1162992"/>
              <a:gd name="connsiteY2" fmla="*/ 581496 h 1162992"/>
              <a:gd name="connsiteX3" fmla="*/ 581496 w 1162992"/>
              <a:gd name="connsiteY3" fmla="*/ 1162992 h 1162992"/>
              <a:gd name="connsiteX4" fmla="*/ 0 w 1162992"/>
              <a:gd name="connsiteY4" fmla="*/ 581496 h 1162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2992" h="1162992">
                <a:moveTo>
                  <a:pt x="0" y="581496"/>
                </a:moveTo>
                <a:cubicBezTo>
                  <a:pt x="0" y="260345"/>
                  <a:pt x="260345" y="0"/>
                  <a:pt x="581496" y="0"/>
                </a:cubicBezTo>
                <a:cubicBezTo>
                  <a:pt x="902647" y="0"/>
                  <a:pt x="1162992" y="260345"/>
                  <a:pt x="1162992" y="581496"/>
                </a:cubicBezTo>
                <a:cubicBezTo>
                  <a:pt x="1162992" y="902647"/>
                  <a:pt x="902647" y="1162992"/>
                  <a:pt x="581496" y="1162992"/>
                </a:cubicBezTo>
                <a:cubicBezTo>
                  <a:pt x="260345" y="1162992"/>
                  <a:pt x="0" y="902647"/>
                  <a:pt x="0" y="581496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38100"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27737" tIns="136310" rIns="127737" bIns="136310" numCol="1" spcCol="1270" anchor="ctr" anchorCtr="0">
            <a:noAutofit/>
          </a:bodyPr>
          <a:lstStyle/>
          <a:p>
            <a:pPr algn="ctr" defTabSz="30003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50" b="1" dirty="0">
                <a:solidFill>
                  <a:srgbClr val="FFFFFF"/>
                </a:solidFill>
                <a:latin typeface="Arial"/>
              </a:rPr>
              <a:t>Community</a:t>
            </a:r>
          </a:p>
        </p:txBody>
      </p:sp>
      <p:sp>
        <p:nvSpPr>
          <p:cNvPr id="11" name="Freeform 10"/>
          <p:cNvSpPr/>
          <p:nvPr/>
        </p:nvSpPr>
        <p:spPr>
          <a:xfrm rot="19063990">
            <a:off x="7671268" y="3315445"/>
            <a:ext cx="1275941" cy="1275941"/>
          </a:xfrm>
          <a:custGeom>
            <a:avLst/>
            <a:gdLst>
              <a:gd name="connsiteX0" fmla="*/ 0 w 1162992"/>
              <a:gd name="connsiteY0" fmla="*/ 581496 h 1162992"/>
              <a:gd name="connsiteX1" fmla="*/ 581496 w 1162992"/>
              <a:gd name="connsiteY1" fmla="*/ 0 h 1162992"/>
              <a:gd name="connsiteX2" fmla="*/ 1162992 w 1162992"/>
              <a:gd name="connsiteY2" fmla="*/ 581496 h 1162992"/>
              <a:gd name="connsiteX3" fmla="*/ 581496 w 1162992"/>
              <a:gd name="connsiteY3" fmla="*/ 1162992 h 1162992"/>
              <a:gd name="connsiteX4" fmla="*/ 0 w 1162992"/>
              <a:gd name="connsiteY4" fmla="*/ 581496 h 11629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2992" h="1162992">
                <a:moveTo>
                  <a:pt x="0" y="581496"/>
                </a:moveTo>
                <a:cubicBezTo>
                  <a:pt x="0" y="260345"/>
                  <a:pt x="260345" y="0"/>
                  <a:pt x="581496" y="0"/>
                </a:cubicBezTo>
                <a:cubicBezTo>
                  <a:pt x="902647" y="0"/>
                  <a:pt x="1162992" y="260345"/>
                  <a:pt x="1162992" y="581496"/>
                </a:cubicBezTo>
                <a:cubicBezTo>
                  <a:pt x="1162992" y="902647"/>
                  <a:pt x="902647" y="1162992"/>
                  <a:pt x="581496" y="1162992"/>
                </a:cubicBezTo>
                <a:cubicBezTo>
                  <a:pt x="260345" y="1162992"/>
                  <a:pt x="0" y="902647"/>
                  <a:pt x="0" y="581496"/>
                </a:cubicBezTo>
                <a:close/>
              </a:path>
            </a:pathLst>
          </a:custGeom>
          <a:solidFill>
            <a:schemeClr val="accent3">
              <a:lumMod val="50000"/>
            </a:schemeClr>
          </a:solidFill>
          <a:ln w="38100"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27737" tIns="136310" rIns="127737" bIns="136310" numCol="1" spcCol="1270" anchor="ctr" anchorCtr="0">
            <a:noAutofit/>
          </a:bodyPr>
          <a:lstStyle/>
          <a:p>
            <a:pPr algn="ctr" defTabSz="30003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050" b="1" dirty="0">
                <a:solidFill>
                  <a:srgbClr val="FFFFFF"/>
                </a:solidFill>
                <a:latin typeface="Arial"/>
              </a:rPr>
              <a:t>E-commerce</a:t>
            </a:r>
          </a:p>
        </p:txBody>
      </p:sp>
    </p:spTree>
    <p:extLst>
      <p:ext uri="{BB962C8B-B14F-4D97-AF65-F5344CB8AC3E}">
        <p14:creationId xmlns:p14="http://schemas.microsoft.com/office/powerpoint/2010/main" val="26630258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576" y="339502"/>
            <a:ext cx="7272808" cy="661197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2800" dirty="0"/>
              <a:t>Characteristics of the Digital Ecosystem</a:t>
            </a:r>
          </a:p>
        </p:txBody>
      </p:sp>
      <p:sp>
        <p:nvSpPr>
          <p:cNvPr id="4" name="Freeform 3"/>
          <p:cNvSpPr/>
          <p:nvPr/>
        </p:nvSpPr>
        <p:spPr>
          <a:xfrm>
            <a:off x="827585" y="1275607"/>
            <a:ext cx="2305134" cy="1066996"/>
          </a:xfrm>
          <a:custGeom>
            <a:avLst/>
            <a:gdLst>
              <a:gd name="connsiteX0" fmla="*/ 0 w 2515195"/>
              <a:gd name="connsiteY0" fmla="*/ 0 h 563039"/>
              <a:gd name="connsiteX1" fmla="*/ 2515195 w 2515195"/>
              <a:gd name="connsiteY1" fmla="*/ 0 h 563039"/>
              <a:gd name="connsiteX2" fmla="*/ 2515195 w 2515195"/>
              <a:gd name="connsiteY2" fmla="*/ 563039 h 563039"/>
              <a:gd name="connsiteX3" fmla="*/ 0 w 2515195"/>
              <a:gd name="connsiteY3" fmla="*/ 563039 h 563039"/>
              <a:gd name="connsiteX4" fmla="*/ 0 w 2515195"/>
              <a:gd name="connsiteY4" fmla="*/ 0 h 563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15195" h="563039">
                <a:moveTo>
                  <a:pt x="0" y="0"/>
                </a:moveTo>
                <a:lnTo>
                  <a:pt x="2515195" y="0"/>
                </a:lnTo>
                <a:lnTo>
                  <a:pt x="2515195" y="563039"/>
                </a:lnTo>
                <a:lnTo>
                  <a:pt x="0" y="56303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3792" tIns="65024" rIns="113792" bIns="72000" numCol="1" spcCol="1270" anchor="b" anchorCtr="0">
            <a:noAutofit/>
          </a:bodyPr>
          <a:lstStyle/>
          <a:p>
            <a:pPr lvl="0" algn="ctr" defTabSz="711200" rtl="0">
              <a:lnSpc>
                <a:spcPct val="114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kern="1200" dirty="0">
                <a:latin typeface="+mj-lt"/>
              </a:rPr>
              <a:t>Modularity</a:t>
            </a:r>
            <a:endParaRPr lang="es-ES" sz="1400" b="1" kern="1200" dirty="0">
              <a:latin typeface="+mj-lt"/>
            </a:endParaRPr>
          </a:p>
        </p:txBody>
      </p:sp>
      <p:sp>
        <p:nvSpPr>
          <p:cNvPr id="6" name="Freeform 5"/>
          <p:cNvSpPr/>
          <p:nvPr/>
        </p:nvSpPr>
        <p:spPr>
          <a:xfrm>
            <a:off x="827585" y="2342602"/>
            <a:ext cx="2305134" cy="2173364"/>
          </a:xfrm>
          <a:custGeom>
            <a:avLst/>
            <a:gdLst>
              <a:gd name="connsiteX0" fmla="*/ 0 w 2515195"/>
              <a:gd name="connsiteY0" fmla="*/ 0 h 2622847"/>
              <a:gd name="connsiteX1" fmla="*/ 2515195 w 2515195"/>
              <a:gd name="connsiteY1" fmla="*/ 0 h 2622847"/>
              <a:gd name="connsiteX2" fmla="*/ 2515195 w 2515195"/>
              <a:gd name="connsiteY2" fmla="*/ 2622847 h 2622847"/>
              <a:gd name="connsiteX3" fmla="*/ 0 w 2515195"/>
              <a:gd name="connsiteY3" fmla="*/ 2622847 h 2622847"/>
              <a:gd name="connsiteX4" fmla="*/ 0 w 2515195"/>
              <a:gd name="connsiteY4" fmla="*/ 0 h 262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15195" h="2622847">
                <a:moveTo>
                  <a:pt x="0" y="0"/>
                </a:moveTo>
                <a:lnTo>
                  <a:pt x="2515195" y="0"/>
                </a:lnTo>
                <a:lnTo>
                  <a:pt x="2515195" y="2622847"/>
                </a:lnTo>
                <a:lnTo>
                  <a:pt x="0" y="262284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5344" tIns="144000" rIns="113792" bIns="128016" numCol="1" spcCol="1270" anchor="t" anchorCtr="0">
            <a:noAutofit/>
          </a:bodyPr>
          <a:lstStyle/>
          <a:p>
            <a:pPr marL="0" lvl="1" algn="ctr" defTabSz="711200">
              <a:lnSpc>
                <a:spcPct val="108000"/>
              </a:lnSpc>
              <a:spcBef>
                <a:spcPct val="0"/>
              </a:spcBef>
              <a:spcAft>
                <a:spcPts val="1800"/>
              </a:spcAft>
              <a:buClr>
                <a:srgbClr val="C00000"/>
              </a:buClr>
            </a:pPr>
            <a:r>
              <a:rPr lang="en-US" sz="1200" kern="1200" dirty="0">
                <a:solidFill>
                  <a:schemeClr val="accent2"/>
                </a:solidFill>
                <a:latin typeface="+mj-lt"/>
              </a:rPr>
              <a:t>The dig</a:t>
            </a:r>
            <a:r>
              <a:rPr lang="en-US" sz="1200" dirty="0">
                <a:solidFill>
                  <a:schemeClr val="accent2"/>
                </a:solidFill>
                <a:latin typeface="+mj-lt"/>
              </a:rPr>
              <a:t>ital sector is a single, integrated ecosystem, not </a:t>
            </a:r>
            <a:br>
              <a:rPr lang="en-US" sz="1200" dirty="0">
                <a:solidFill>
                  <a:schemeClr val="accent2"/>
                </a:solidFill>
                <a:latin typeface="+mj-lt"/>
              </a:rPr>
            </a:br>
            <a:r>
              <a:rPr lang="en-US" sz="1200" dirty="0">
                <a:solidFill>
                  <a:schemeClr val="accent2"/>
                </a:solidFill>
                <a:latin typeface="+mj-lt"/>
              </a:rPr>
              <a:t>a collection of related-but- separate markets</a:t>
            </a:r>
          </a:p>
          <a:p>
            <a:pPr marL="0" lvl="1" algn="ctr" defTabSz="711200">
              <a:lnSpc>
                <a:spcPct val="108000"/>
              </a:lnSpc>
              <a:spcBef>
                <a:spcPct val="0"/>
              </a:spcBef>
              <a:spcAft>
                <a:spcPts val="1800"/>
              </a:spcAft>
              <a:buClr>
                <a:srgbClr val="C00000"/>
              </a:buClr>
            </a:pPr>
            <a:r>
              <a:rPr lang="en-US" sz="1200" dirty="0">
                <a:solidFill>
                  <a:schemeClr val="accent2"/>
                </a:solidFill>
                <a:latin typeface="+mj-lt"/>
              </a:rPr>
              <a:t>Digital players engage each other in a variety of roles across the value chain</a:t>
            </a:r>
            <a:endParaRPr lang="es-ES" sz="1200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8" name="Freeform 7"/>
          <p:cNvSpPr/>
          <p:nvPr/>
        </p:nvSpPr>
        <p:spPr>
          <a:xfrm>
            <a:off x="3382551" y="1275606"/>
            <a:ext cx="2305134" cy="1066996"/>
          </a:xfrm>
          <a:custGeom>
            <a:avLst/>
            <a:gdLst>
              <a:gd name="connsiteX0" fmla="*/ 0 w 2515195"/>
              <a:gd name="connsiteY0" fmla="*/ 0 h 563039"/>
              <a:gd name="connsiteX1" fmla="*/ 2515195 w 2515195"/>
              <a:gd name="connsiteY1" fmla="*/ 0 h 563039"/>
              <a:gd name="connsiteX2" fmla="*/ 2515195 w 2515195"/>
              <a:gd name="connsiteY2" fmla="*/ 563039 h 563039"/>
              <a:gd name="connsiteX3" fmla="*/ 0 w 2515195"/>
              <a:gd name="connsiteY3" fmla="*/ 563039 h 563039"/>
              <a:gd name="connsiteX4" fmla="*/ 0 w 2515195"/>
              <a:gd name="connsiteY4" fmla="*/ 0 h 563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15195" h="563039">
                <a:moveTo>
                  <a:pt x="0" y="0"/>
                </a:moveTo>
                <a:lnTo>
                  <a:pt x="2515195" y="0"/>
                </a:lnTo>
                <a:lnTo>
                  <a:pt x="2515195" y="563039"/>
                </a:lnTo>
                <a:lnTo>
                  <a:pt x="0" y="56303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3792" tIns="65024" rIns="113792" bIns="72000" numCol="1" spcCol="1270" anchor="b" anchorCtr="0">
            <a:noAutofit/>
          </a:bodyPr>
          <a:lstStyle/>
          <a:p>
            <a:pPr lvl="0" algn="ctr" defTabSz="711200" rtl="0">
              <a:lnSpc>
                <a:spcPct val="114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kern="1200" dirty="0">
                <a:latin typeface="+mj-lt"/>
              </a:rPr>
              <a:t>Network Effects</a:t>
            </a:r>
            <a:endParaRPr lang="es-ES" sz="1400" b="1" kern="1200" dirty="0">
              <a:latin typeface="+mj-lt"/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3382551" y="2342602"/>
            <a:ext cx="2305134" cy="2173364"/>
          </a:xfrm>
          <a:custGeom>
            <a:avLst/>
            <a:gdLst>
              <a:gd name="connsiteX0" fmla="*/ 0 w 2515195"/>
              <a:gd name="connsiteY0" fmla="*/ 0 h 2622847"/>
              <a:gd name="connsiteX1" fmla="*/ 2515195 w 2515195"/>
              <a:gd name="connsiteY1" fmla="*/ 0 h 2622847"/>
              <a:gd name="connsiteX2" fmla="*/ 2515195 w 2515195"/>
              <a:gd name="connsiteY2" fmla="*/ 2622847 h 2622847"/>
              <a:gd name="connsiteX3" fmla="*/ 0 w 2515195"/>
              <a:gd name="connsiteY3" fmla="*/ 2622847 h 2622847"/>
              <a:gd name="connsiteX4" fmla="*/ 0 w 2515195"/>
              <a:gd name="connsiteY4" fmla="*/ 0 h 262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15195" h="2622847">
                <a:moveTo>
                  <a:pt x="0" y="0"/>
                </a:moveTo>
                <a:lnTo>
                  <a:pt x="2515195" y="0"/>
                </a:lnTo>
                <a:lnTo>
                  <a:pt x="2515195" y="2622847"/>
                </a:lnTo>
                <a:lnTo>
                  <a:pt x="0" y="262284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5344" tIns="144000" rIns="113792" bIns="128016" numCol="1" spcCol="1270" anchor="t" anchorCtr="0">
            <a:noAutofit/>
          </a:bodyPr>
          <a:lstStyle/>
          <a:p>
            <a:pPr marL="0" lvl="1" algn="ctr" defTabSz="711200" rtl="0">
              <a:lnSpc>
                <a:spcPct val="108000"/>
              </a:lnSpc>
              <a:spcBef>
                <a:spcPct val="0"/>
              </a:spcBef>
              <a:spcAft>
                <a:spcPts val="1800"/>
              </a:spcAft>
              <a:buClr>
                <a:srgbClr val="C00000"/>
              </a:buClr>
            </a:pPr>
            <a:r>
              <a:rPr lang="en-US" sz="1200" kern="1200" dirty="0">
                <a:solidFill>
                  <a:schemeClr val="accent2"/>
                </a:solidFill>
                <a:latin typeface="+mj-lt"/>
              </a:rPr>
              <a:t>Competition </a:t>
            </a:r>
            <a:r>
              <a:rPr lang="en-US" sz="1200" dirty="0">
                <a:solidFill>
                  <a:schemeClr val="accent2"/>
                </a:solidFill>
                <a:latin typeface="+mj-lt"/>
              </a:rPr>
              <a:t>is </a:t>
            </a:r>
            <a:r>
              <a:rPr lang="en-US" sz="1200" b="1" kern="1200" dirty="0">
                <a:solidFill>
                  <a:srgbClr val="C00000"/>
                </a:solidFill>
                <a:latin typeface="+mj-lt"/>
              </a:rPr>
              <a:t>for</a:t>
            </a:r>
            <a:r>
              <a:rPr lang="en-US" sz="1200" kern="1200" dirty="0">
                <a:solidFill>
                  <a:srgbClr val="C00000"/>
                </a:solidFill>
                <a:latin typeface="+mj-lt"/>
              </a:rPr>
              <a:t> </a:t>
            </a:r>
            <a:r>
              <a:rPr lang="en-US" sz="1200" kern="1200" dirty="0">
                <a:solidFill>
                  <a:schemeClr val="accent2"/>
                </a:solidFill>
                <a:latin typeface="+mj-lt"/>
              </a:rPr>
              <a:t>the market, not </a:t>
            </a:r>
            <a:r>
              <a:rPr lang="en-US" sz="1200" b="1" kern="1200" dirty="0">
                <a:solidFill>
                  <a:srgbClr val="C00000"/>
                </a:solidFill>
                <a:latin typeface="+mj-lt"/>
              </a:rPr>
              <a:t>in</a:t>
            </a:r>
            <a:r>
              <a:rPr lang="en-US" sz="1200" kern="1200" dirty="0">
                <a:solidFill>
                  <a:srgbClr val="C00000"/>
                </a:solidFill>
                <a:latin typeface="+mj-lt"/>
              </a:rPr>
              <a:t> </a:t>
            </a:r>
            <a:r>
              <a:rPr lang="en-US" sz="1200" kern="1200" dirty="0">
                <a:solidFill>
                  <a:schemeClr val="accent2"/>
                </a:solidFill>
                <a:latin typeface="+mj-lt"/>
              </a:rPr>
              <a:t>the market</a:t>
            </a:r>
          </a:p>
          <a:p>
            <a:pPr marL="0" lvl="1" algn="ctr" defTabSz="711200">
              <a:lnSpc>
                <a:spcPct val="108000"/>
              </a:lnSpc>
              <a:spcBef>
                <a:spcPct val="0"/>
              </a:spcBef>
              <a:spcAft>
                <a:spcPts val="1800"/>
              </a:spcAft>
              <a:buClr>
                <a:srgbClr val="C00000"/>
              </a:buClr>
            </a:pPr>
            <a:r>
              <a:rPr lang="en-US" sz="1200" kern="1200" dirty="0">
                <a:solidFill>
                  <a:schemeClr val="accent2"/>
                </a:solidFill>
                <a:latin typeface="+mj-lt"/>
              </a:rPr>
              <a:t>Consumers benefit from the internet’s natural economies of </a:t>
            </a:r>
            <a:r>
              <a:rPr lang="en-US" sz="1200" dirty="0">
                <a:solidFill>
                  <a:schemeClr val="accent2"/>
                </a:solidFill>
                <a:latin typeface="+mj-lt"/>
              </a:rPr>
              <a:t>scale</a:t>
            </a:r>
            <a:r>
              <a:rPr lang="en-US" sz="1200" kern="1200" dirty="0">
                <a:solidFill>
                  <a:schemeClr val="accent2"/>
                </a:solidFill>
                <a:latin typeface="+mj-lt"/>
              </a:rPr>
              <a:t> and scope</a:t>
            </a:r>
          </a:p>
          <a:p>
            <a:pPr marL="0" lvl="1" algn="ctr" defTabSz="711200">
              <a:lnSpc>
                <a:spcPct val="108000"/>
              </a:lnSpc>
              <a:spcBef>
                <a:spcPct val="0"/>
              </a:spcBef>
              <a:spcAft>
                <a:spcPts val="1800"/>
              </a:spcAft>
              <a:buClr>
                <a:srgbClr val="C00000"/>
              </a:buClr>
            </a:pPr>
            <a:r>
              <a:rPr lang="en-US" sz="1200" dirty="0">
                <a:solidFill>
                  <a:schemeClr val="accent2"/>
                </a:solidFill>
                <a:latin typeface="+mj-lt"/>
              </a:rPr>
              <a:t>R</a:t>
            </a:r>
            <a:r>
              <a:rPr lang="en-US" sz="1200" kern="1200" dirty="0">
                <a:solidFill>
                  <a:schemeClr val="accent2"/>
                </a:solidFill>
                <a:latin typeface="+mj-lt"/>
              </a:rPr>
              <a:t>egulation should not </a:t>
            </a:r>
            <a:br>
              <a:rPr lang="en-US" sz="1200" kern="1200" dirty="0">
                <a:solidFill>
                  <a:schemeClr val="accent2"/>
                </a:solidFill>
                <a:latin typeface="+mj-lt"/>
              </a:rPr>
            </a:br>
            <a:r>
              <a:rPr lang="en-US" sz="1200" dirty="0">
                <a:solidFill>
                  <a:schemeClr val="accent2"/>
                </a:solidFill>
                <a:latin typeface="+mj-lt"/>
              </a:rPr>
              <a:t>obstruct scale and scope</a:t>
            </a:r>
          </a:p>
        </p:txBody>
      </p:sp>
      <p:sp>
        <p:nvSpPr>
          <p:cNvPr id="10" name="Freeform 9"/>
          <p:cNvSpPr/>
          <p:nvPr/>
        </p:nvSpPr>
        <p:spPr>
          <a:xfrm>
            <a:off x="5939274" y="1275606"/>
            <a:ext cx="2305134" cy="1066996"/>
          </a:xfrm>
          <a:custGeom>
            <a:avLst/>
            <a:gdLst>
              <a:gd name="connsiteX0" fmla="*/ 0 w 2515195"/>
              <a:gd name="connsiteY0" fmla="*/ 0 h 563039"/>
              <a:gd name="connsiteX1" fmla="*/ 2515195 w 2515195"/>
              <a:gd name="connsiteY1" fmla="*/ 0 h 563039"/>
              <a:gd name="connsiteX2" fmla="*/ 2515195 w 2515195"/>
              <a:gd name="connsiteY2" fmla="*/ 563039 h 563039"/>
              <a:gd name="connsiteX3" fmla="*/ 0 w 2515195"/>
              <a:gd name="connsiteY3" fmla="*/ 563039 h 563039"/>
              <a:gd name="connsiteX4" fmla="*/ 0 w 2515195"/>
              <a:gd name="connsiteY4" fmla="*/ 0 h 5630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15195" h="563039">
                <a:moveTo>
                  <a:pt x="0" y="0"/>
                </a:moveTo>
                <a:lnTo>
                  <a:pt x="2515195" y="0"/>
                </a:lnTo>
                <a:lnTo>
                  <a:pt x="2515195" y="563039"/>
                </a:lnTo>
                <a:lnTo>
                  <a:pt x="0" y="56303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3792" tIns="65024" rIns="113792" bIns="72000" numCol="1" spcCol="1270" anchor="b" anchorCtr="0">
            <a:noAutofit/>
          </a:bodyPr>
          <a:lstStyle/>
          <a:p>
            <a:pPr lvl="0" algn="ctr" defTabSz="711200" rtl="0">
              <a:lnSpc>
                <a:spcPct val="114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kern="1200" dirty="0">
                <a:latin typeface="+mj-lt"/>
              </a:rPr>
              <a:t>Dynamic Competition</a:t>
            </a:r>
            <a:endParaRPr lang="es-ES" sz="1400" b="1" kern="1200" dirty="0">
              <a:latin typeface="+mj-lt"/>
            </a:endParaRPr>
          </a:p>
        </p:txBody>
      </p:sp>
      <p:sp>
        <p:nvSpPr>
          <p:cNvPr id="11" name="Freeform 10"/>
          <p:cNvSpPr/>
          <p:nvPr/>
        </p:nvSpPr>
        <p:spPr>
          <a:xfrm>
            <a:off x="5939274" y="2342602"/>
            <a:ext cx="2305134" cy="2173364"/>
          </a:xfrm>
          <a:custGeom>
            <a:avLst/>
            <a:gdLst>
              <a:gd name="connsiteX0" fmla="*/ 0 w 2515195"/>
              <a:gd name="connsiteY0" fmla="*/ 0 h 2622847"/>
              <a:gd name="connsiteX1" fmla="*/ 2515195 w 2515195"/>
              <a:gd name="connsiteY1" fmla="*/ 0 h 2622847"/>
              <a:gd name="connsiteX2" fmla="*/ 2515195 w 2515195"/>
              <a:gd name="connsiteY2" fmla="*/ 2622847 h 2622847"/>
              <a:gd name="connsiteX3" fmla="*/ 0 w 2515195"/>
              <a:gd name="connsiteY3" fmla="*/ 2622847 h 2622847"/>
              <a:gd name="connsiteX4" fmla="*/ 0 w 2515195"/>
              <a:gd name="connsiteY4" fmla="*/ 0 h 2622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15195" h="2622847">
                <a:moveTo>
                  <a:pt x="0" y="0"/>
                </a:moveTo>
                <a:lnTo>
                  <a:pt x="2515195" y="0"/>
                </a:lnTo>
                <a:lnTo>
                  <a:pt x="2515195" y="2622847"/>
                </a:lnTo>
                <a:lnTo>
                  <a:pt x="0" y="2622847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5344" tIns="144000" rIns="113792" bIns="128016" numCol="1" spcCol="1270" anchor="t" anchorCtr="0">
            <a:noAutofit/>
          </a:bodyPr>
          <a:lstStyle/>
          <a:p>
            <a:pPr marL="0" lvl="1" algn="ctr" defTabSz="711200" rtl="0">
              <a:lnSpc>
                <a:spcPct val="108000"/>
              </a:lnSpc>
              <a:spcBef>
                <a:spcPct val="0"/>
              </a:spcBef>
              <a:spcAft>
                <a:spcPts val="1800"/>
              </a:spcAft>
              <a:buClr>
                <a:srgbClr val="C00000"/>
              </a:buClr>
            </a:pPr>
            <a:r>
              <a:rPr lang="en-US" sz="1200" kern="1200" dirty="0">
                <a:solidFill>
                  <a:schemeClr val="accent2"/>
                </a:solidFill>
                <a:latin typeface="+mj-lt"/>
              </a:rPr>
              <a:t>Transformative innovation generates choice and value for consumers</a:t>
            </a:r>
            <a:endParaRPr lang="es-ES" sz="1200" kern="1200" dirty="0">
              <a:solidFill>
                <a:schemeClr val="accent2"/>
              </a:solidFill>
              <a:latin typeface="+mj-lt"/>
            </a:endParaRPr>
          </a:p>
          <a:p>
            <a:pPr marL="0" lvl="1" algn="ctr" defTabSz="711200" rtl="0">
              <a:lnSpc>
                <a:spcPct val="108000"/>
              </a:lnSpc>
              <a:spcBef>
                <a:spcPct val="0"/>
              </a:spcBef>
              <a:spcAft>
                <a:spcPts val="1800"/>
              </a:spcAft>
              <a:buClr>
                <a:srgbClr val="C00000"/>
              </a:buClr>
            </a:pPr>
            <a:r>
              <a:rPr lang="en-US" sz="1200" kern="1200" dirty="0">
                <a:solidFill>
                  <a:schemeClr val="accent2"/>
                </a:solidFill>
                <a:latin typeface="+mj-lt"/>
              </a:rPr>
              <a:t>Static ‘dominant’ positions are contestable</a:t>
            </a:r>
            <a:endParaRPr lang="es-ES" sz="1200" kern="1200" dirty="0">
              <a:solidFill>
                <a:schemeClr val="accent2"/>
              </a:solidFill>
              <a:latin typeface="+mj-lt"/>
            </a:endParaRPr>
          </a:p>
          <a:p>
            <a:pPr marL="0" lvl="1" algn="ctr" defTabSz="711200" rtl="0">
              <a:lnSpc>
                <a:spcPct val="108000"/>
              </a:lnSpc>
              <a:spcBef>
                <a:spcPct val="0"/>
              </a:spcBef>
              <a:spcAft>
                <a:spcPts val="1800"/>
              </a:spcAft>
              <a:buClr>
                <a:srgbClr val="C00000"/>
              </a:buClr>
            </a:pPr>
            <a:r>
              <a:rPr lang="en-GB" sz="1200" kern="1200" dirty="0">
                <a:solidFill>
                  <a:schemeClr val="accent2"/>
                </a:solidFill>
                <a:latin typeface="+mj-lt"/>
              </a:rPr>
              <a:t>Regulation should not inhibit innovation and investmen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31F87C6-8F4B-C14F-952F-C5F8DB9F277E}" type="slidenum">
              <a:rPr lang="en-US" smtClean="0"/>
              <a:t>3</a:t>
            </a:fld>
            <a:endParaRPr lang="en-US"/>
          </a:p>
        </p:txBody>
      </p:sp>
      <p:pic>
        <p:nvPicPr>
          <p:cNvPr id="12" name="Picture 6" descr="map, mind icon"/>
          <p:cNvPicPr>
            <a:picLocks noChangeAspect="1" noChangeArrowheads="1"/>
          </p:cNvPicPr>
          <p:nvPr/>
        </p:nvPicPr>
        <p:blipFill>
          <a:blip r:embed="rId3" cstate="print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700000">
            <a:off x="4225360" y="1407013"/>
            <a:ext cx="619514" cy="619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Image result for competition icon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4500" b="75000" l="0" r="100000">
                        <a14:foregroundMark x1="67500" y1="66000" x2="67500" y2="66000"/>
                        <a14:foregroundMark x1="90000" y1="65000" x2="90000" y2="65000"/>
                        <a14:foregroundMark x1="72000" y1="37500" x2="72000" y2="37500"/>
                        <a14:foregroundMark x1="32000" y1="37000" x2="32000" y2="37000"/>
                        <a14:foregroundMark x1="19500" y1="54000" x2="19500" y2="54000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4428" b="24428"/>
          <a:stretch/>
        </p:blipFill>
        <p:spPr bwMode="auto">
          <a:xfrm>
            <a:off x="6644236" y="1514952"/>
            <a:ext cx="895210" cy="4578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Image result for icon two puzzle pieces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25556" b="74603" l="23500" r="76500">
                        <a14:foregroundMark x1="43167" y1="47937" x2="43167" y2="47937"/>
                        <a14:foregroundMark x1="61167" y1="50476" x2="61167" y2="50476"/>
                      </a14:backgroundRemoval>
                    </a14:imgEffect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971" t="25387" r="23971" b="25387"/>
          <a:stretch/>
        </p:blipFill>
        <p:spPr bwMode="auto">
          <a:xfrm>
            <a:off x="1441015" y="1501255"/>
            <a:ext cx="1031486" cy="5120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72212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576" y="411510"/>
            <a:ext cx="4752528" cy="793468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2800" dirty="0"/>
              <a:t>Costs and Consequences </a:t>
            </a:r>
            <a:br>
              <a:rPr lang="en-US" sz="2800" dirty="0"/>
            </a:br>
            <a:r>
              <a:rPr lang="en-US" sz="1600" dirty="0"/>
              <a:t>of legacy regulation</a:t>
            </a:r>
          </a:p>
        </p:txBody>
      </p:sp>
      <p:sp>
        <p:nvSpPr>
          <p:cNvPr id="7" name="Freeform 6"/>
          <p:cNvSpPr/>
          <p:nvPr/>
        </p:nvSpPr>
        <p:spPr>
          <a:xfrm>
            <a:off x="884450" y="1347614"/>
            <a:ext cx="2578869" cy="623982"/>
          </a:xfrm>
          <a:custGeom>
            <a:avLst/>
            <a:gdLst>
              <a:gd name="connsiteX0" fmla="*/ 0 w 3921434"/>
              <a:gd name="connsiteY0" fmla="*/ 0 h 569438"/>
              <a:gd name="connsiteX1" fmla="*/ 3921434 w 3921434"/>
              <a:gd name="connsiteY1" fmla="*/ 0 h 569438"/>
              <a:gd name="connsiteX2" fmla="*/ 3921434 w 3921434"/>
              <a:gd name="connsiteY2" fmla="*/ 569438 h 569438"/>
              <a:gd name="connsiteX3" fmla="*/ 0 w 3921434"/>
              <a:gd name="connsiteY3" fmla="*/ 569438 h 569438"/>
              <a:gd name="connsiteX4" fmla="*/ 0 w 3921434"/>
              <a:gd name="connsiteY4" fmla="*/ 0 h 569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21434" h="569438">
                <a:moveTo>
                  <a:pt x="0" y="0"/>
                </a:moveTo>
                <a:lnTo>
                  <a:pt x="3921434" y="0"/>
                </a:lnTo>
                <a:lnTo>
                  <a:pt x="3921434" y="569438"/>
                </a:lnTo>
                <a:lnTo>
                  <a:pt x="0" y="56943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3792" tIns="65024" rIns="113792" bIns="65024" numCol="1" spcCol="1270" anchor="ctr" anchorCtr="0">
            <a:noAutofit/>
          </a:bodyPr>
          <a:lstStyle/>
          <a:p>
            <a:pPr algn="ctr" defTabSz="711200">
              <a:lnSpc>
                <a:spcPct val="114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>
                <a:latin typeface="+mj-lt"/>
              </a:rPr>
              <a:t>Regulating well 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is always difficult …</a:t>
            </a:r>
          </a:p>
        </p:txBody>
      </p:sp>
      <p:sp>
        <p:nvSpPr>
          <p:cNvPr id="8" name="Freeform 7"/>
          <p:cNvSpPr/>
          <p:nvPr/>
        </p:nvSpPr>
        <p:spPr>
          <a:xfrm>
            <a:off x="880378" y="1971594"/>
            <a:ext cx="2582942" cy="2616380"/>
          </a:xfrm>
          <a:custGeom>
            <a:avLst/>
            <a:gdLst>
              <a:gd name="connsiteX0" fmla="*/ 0 w 3920680"/>
              <a:gd name="connsiteY0" fmla="*/ 0 h 2330114"/>
              <a:gd name="connsiteX1" fmla="*/ 3920680 w 3920680"/>
              <a:gd name="connsiteY1" fmla="*/ 0 h 2330114"/>
              <a:gd name="connsiteX2" fmla="*/ 3920680 w 3920680"/>
              <a:gd name="connsiteY2" fmla="*/ 2330114 h 2330114"/>
              <a:gd name="connsiteX3" fmla="*/ 0 w 3920680"/>
              <a:gd name="connsiteY3" fmla="*/ 2330114 h 2330114"/>
              <a:gd name="connsiteX4" fmla="*/ 0 w 3920680"/>
              <a:gd name="connsiteY4" fmla="*/ 0 h 233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20680" h="2330114">
                <a:moveTo>
                  <a:pt x="0" y="0"/>
                </a:moveTo>
                <a:lnTo>
                  <a:pt x="3920680" y="0"/>
                </a:lnTo>
                <a:lnTo>
                  <a:pt x="3920680" y="2330114"/>
                </a:lnTo>
                <a:lnTo>
                  <a:pt x="0" y="2330114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5344" tIns="85344" rIns="113792" bIns="128016" numCol="1" spcCol="1270" anchor="t" anchorCtr="0">
            <a:noAutofit/>
          </a:bodyPr>
          <a:lstStyle/>
          <a:p>
            <a:pPr marL="171450" lvl="1" indent="-171450" defTabSz="711200">
              <a:lnSpc>
                <a:spcPct val="108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accent2"/>
                </a:solidFill>
                <a:latin typeface="+mj-lt"/>
              </a:rPr>
              <a:t>Information gaps can lead to regulatory errors, distorting markets and competition</a:t>
            </a:r>
          </a:p>
          <a:p>
            <a:pPr marL="171450" lvl="1" indent="-171450" defTabSz="711200">
              <a:lnSpc>
                <a:spcPct val="108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accent2"/>
                </a:solidFill>
                <a:latin typeface="+mj-lt"/>
              </a:rPr>
              <a:t>Market conditions and technologies can change in unpredictable ways</a:t>
            </a:r>
          </a:p>
          <a:p>
            <a:pPr marL="171450" lvl="1" indent="-171450" defTabSz="711200">
              <a:lnSpc>
                <a:spcPct val="108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accent2"/>
                </a:solidFill>
                <a:latin typeface="+mj-lt"/>
              </a:rPr>
              <a:t>Regulations often create substantial compliance burdens</a:t>
            </a:r>
          </a:p>
          <a:p>
            <a:pPr marL="171450" lvl="1" indent="-171450" defTabSz="711200">
              <a:lnSpc>
                <a:spcPct val="108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accent2"/>
                </a:solidFill>
                <a:latin typeface="+mj-lt"/>
              </a:rPr>
              <a:t>Regulation always benefits some interests over others</a:t>
            </a:r>
          </a:p>
        </p:txBody>
      </p:sp>
      <p:sp>
        <p:nvSpPr>
          <p:cNvPr id="9" name="Freeform 8"/>
          <p:cNvSpPr/>
          <p:nvPr/>
        </p:nvSpPr>
        <p:spPr>
          <a:xfrm>
            <a:off x="3702379" y="1347614"/>
            <a:ext cx="2453798" cy="623982"/>
          </a:xfrm>
          <a:custGeom>
            <a:avLst/>
            <a:gdLst>
              <a:gd name="connsiteX0" fmla="*/ 0 w 3731251"/>
              <a:gd name="connsiteY0" fmla="*/ 0 h 569438"/>
              <a:gd name="connsiteX1" fmla="*/ 3731251 w 3731251"/>
              <a:gd name="connsiteY1" fmla="*/ 0 h 569438"/>
              <a:gd name="connsiteX2" fmla="*/ 3731251 w 3731251"/>
              <a:gd name="connsiteY2" fmla="*/ 569438 h 569438"/>
              <a:gd name="connsiteX3" fmla="*/ 0 w 3731251"/>
              <a:gd name="connsiteY3" fmla="*/ 569438 h 569438"/>
              <a:gd name="connsiteX4" fmla="*/ 0 w 3731251"/>
              <a:gd name="connsiteY4" fmla="*/ 0 h 569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31251" h="569438">
                <a:moveTo>
                  <a:pt x="0" y="0"/>
                </a:moveTo>
                <a:lnTo>
                  <a:pt x="3731251" y="0"/>
                </a:lnTo>
                <a:lnTo>
                  <a:pt x="3731251" y="569438"/>
                </a:lnTo>
                <a:lnTo>
                  <a:pt x="0" y="569438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50000"/>
            </a:schemeClr>
          </a:solidFill>
          <a:ln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3792" tIns="65024" rIns="113792" bIns="65024" numCol="1" spcCol="1270" anchor="ctr" anchorCtr="0">
            <a:noAutofit/>
          </a:bodyPr>
          <a:lstStyle/>
          <a:p>
            <a:pPr algn="ctr" defTabSz="711200">
              <a:lnSpc>
                <a:spcPct val="114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dirty="0">
                <a:latin typeface="+mj-lt"/>
              </a:rPr>
              <a:t>… and more so in </a:t>
            </a:r>
            <a:br>
              <a:rPr lang="en-US" sz="1400" b="1" dirty="0">
                <a:latin typeface="+mj-lt"/>
              </a:rPr>
            </a:br>
            <a:r>
              <a:rPr lang="en-US" sz="1400" b="1" dirty="0">
                <a:latin typeface="+mj-lt"/>
              </a:rPr>
              <a:t>the digital ecosystem</a:t>
            </a:r>
          </a:p>
        </p:txBody>
      </p:sp>
      <p:sp>
        <p:nvSpPr>
          <p:cNvPr id="10" name="Freeform 9"/>
          <p:cNvSpPr/>
          <p:nvPr/>
        </p:nvSpPr>
        <p:spPr>
          <a:xfrm>
            <a:off x="3702378" y="1971594"/>
            <a:ext cx="2453798" cy="2616380"/>
          </a:xfrm>
          <a:custGeom>
            <a:avLst/>
            <a:gdLst>
              <a:gd name="connsiteX0" fmla="*/ 0 w 3737481"/>
              <a:gd name="connsiteY0" fmla="*/ 0 h 2330114"/>
              <a:gd name="connsiteX1" fmla="*/ 3737481 w 3737481"/>
              <a:gd name="connsiteY1" fmla="*/ 0 h 2330114"/>
              <a:gd name="connsiteX2" fmla="*/ 3737481 w 3737481"/>
              <a:gd name="connsiteY2" fmla="*/ 2330114 h 2330114"/>
              <a:gd name="connsiteX3" fmla="*/ 0 w 3737481"/>
              <a:gd name="connsiteY3" fmla="*/ 2330114 h 2330114"/>
              <a:gd name="connsiteX4" fmla="*/ 0 w 3737481"/>
              <a:gd name="connsiteY4" fmla="*/ 0 h 23301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37481" h="2330114">
                <a:moveTo>
                  <a:pt x="0" y="0"/>
                </a:moveTo>
                <a:lnTo>
                  <a:pt x="3737481" y="0"/>
                </a:lnTo>
                <a:lnTo>
                  <a:pt x="3737481" y="2330114"/>
                </a:lnTo>
                <a:lnTo>
                  <a:pt x="0" y="2330114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2"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2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5344" tIns="85344" rIns="113792" bIns="128016" numCol="1" spcCol="1270" anchor="t" anchorCtr="0">
            <a:noAutofit/>
          </a:bodyPr>
          <a:lstStyle/>
          <a:p>
            <a:pPr marL="171450" lvl="1" indent="-171450" defTabSz="711200">
              <a:lnSpc>
                <a:spcPct val="108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accent2"/>
                </a:solidFill>
                <a:latin typeface="+mj-lt"/>
              </a:rPr>
              <a:t>The complexity of digital markets increases regulatory error</a:t>
            </a:r>
          </a:p>
          <a:p>
            <a:pPr marL="171450" lvl="1" indent="-171450" defTabSz="711200">
              <a:lnSpc>
                <a:spcPct val="108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accent2"/>
                </a:solidFill>
                <a:latin typeface="+mj-lt"/>
              </a:rPr>
              <a:t>Rapid change accelerates regulatory obsolescence</a:t>
            </a:r>
          </a:p>
          <a:p>
            <a:pPr marL="171450" lvl="1" indent="-171450" defTabSz="711200">
              <a:lnSpc>
                <a:spcPct val="108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accent2"/>
                </a:solidFill>
                <a:latin typeface="+mj-lt"/>
              </a:rPr>
              <a:t>Innovation and entry are distorted by regulatory burdens and risks</a:t>
            </a:r>
          </a:p>
          <a:p>
            <a:pPr marL="171450" lvl="1" indent="-171450" defTabSz="711200">
              <a:lnSpc>
                <a:spcPct val="108000"/>
              </a:lnSpc>
              <a:spcBef>
                <a:spcPct val="0"/>
              </a:spcBef>
              <a:spcAft>
                <a:spcPts val="1200"/>
              </a:spcAft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accent2"/>
                </a:solidFill>
                <a:latin typeface="+mj-lt"/>
              </a:rPr>
              <a:t>Higher regulatory distortions raise returns to rent-seek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31F87C6-8F4B-C14F-952F-C5F8DB9F277E}" type="slidenum">
              <a:rPr lang="en-US" smtClean="0"/>
              <a:t>4</a:t>
            </a:fld>
            <a:endParaRPr lang="en-US" dirty="0"/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6444208" y="1682475"/>
            <a:ext cx="1944216" cy="2037768"/>
          </a:xfrm>
          <a:prstGeom prst="rect">
            <a:avLst/>
          </a:prstGeom>
          <a:noFill/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ctr">
              <a:defRPr sz="1600" b="1" i="1" ker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lnSpc>
                <a:spcPct val="130000"/>
              </a:lnSpc>
            </a:pPr>
            <a:r>
              <a:rPr lang="en-GB" sz="1400" dirty="0">
                <a:solidFill>
                  <a:srgbClr val="C00000"/>
                </a:solidFill>
              </a:rPr>
              <a:t>Discriminatory, prescriptive regulations inhibit the growth of the digital ecosystem </a:t>
            </a:r>
            <a:br>
              <a:rPr lang="en-GB" sz="1400" dirty="0">
                <a:solidFill>
                  <a:srgbClr val="C00000"/>
                </a:solidFill>
              </a:rPr>
            </a:br>
            <a:r>
              <a:rPr lang="en-GB" sz="1400" dirty="0">
                <a:solidFill>
                  <a:srgbClr val="C00000"/>
                </a:solidFill>
              </a:rPr>
              <a:t>and reduce consumer welfare</a:t>
            </a:r>
            <a:endParaRPr lang="en-US" sz="1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9595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576" y="355953"/>
            <a:ext cx="8388424" cy="661197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2800" kern="1000" spc="-50" dirty="0"/>
              <a:t>Regulatory Discrimination Impedes Competi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31F87C6-8F4B-C14F-952F-C5F8DB9F277E}" type="slidenum">
              <a:rPr lang="en-US" smtClean="0"/>
              <a:t>5</a:t>
            </a:fld>
            <a:endParaRPr lang="en-US"/>
          </a:p>
        </p:txBody>
      </p:sp>
      <p:grpSp>
        <p:nvGrpSpPr>
          <p:cNvPr id="30" name="Group 29"/>
          <p:cNvGrpSpPr/>
          <p:nvPr/>
        </p:nvGrpSpPr>
        <p:grpSpPr>
          <a:xfrm>
            <a:off x="827584" y="1275606"/>
            <a:ext cx="7544636" cy="3327912"/>
            <a:chOff x="827584" y="1275606"/>
            <a:chExt cx="7544636" cy="3327912"/>
          </a:xfrm>
        </p:grpSpPr>
        <p:sp>
          <p:nvSpPr>
            <p:cNvPr id="19" name="Freeform 18"/>
            <p:cNvSpPr/>
            <p:nvPr/>
          </p:nvSpPr>
          <p:spPr>
            <a:xfrm>
              <a:off x="885342" y="3138593"/>
              <a:ext cx="1822028" cy="728811"/>
            </a:xfrm>
            <a:custGeom>
              <a:avLst/>
              <a:gdLst>
                <a:gd name="connsiteX0" fmla="*/ 0 w 1822028"/>
                <a:gd name="connsiteY0" fmla="*/ 0 h 728811"/>
                <a:gd name="connsiteX1" fmla="*/ 1457623 w 1822028"/>
                <a:gd name="connsiteY1" fmla="*/ 0 h 728811"/>
                <a:gd name="connsiteX2" fmla="*/ 1822028 w 1822028"/>
                <a:gd name="connsiteY2" fmla="*/ 364406 h 728811"/>
                <a:gd name="connsiteX3" fmla="*/ 1457623 w 1822028"/>
                <a:gd name="connsiteY3" fmla="*/ 728811 h 728811"/>
                <a:gd name="connsiteX4" fmla="*/ 0 w 1822028"/>
                <a:gd name="connsiteY4" fmla="*/ 728811 h 728811"/>
                <a:gd name="connsiteX5" fmla="*/ 0 w 1822028"/>
                <a:gd name="connsiteY5" fmla="*/ 0 h 728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2028" h="728811">
                  <a:moveTo>
                    <a:pt x="0" y="0"/>
                  </a:moveTo>
                  <a:lnTo>
                    <a:pt x="1457623" y="0"/>
                  </a:lnTo>
                  <a:lnTo>
                    <a:pt x="1822028" y="364406"/>
                  </a:lnTo>
                  <a:lnTo>
                    <a:pt x="1457623" y="728811"/>
                  </a:lnTo>
                  <a:lnTo>
                    <a:pt x="0" y="7288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" tIns="26670" rIns="0" bIns="26670" numCol="1" spcCol="127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100" b="1" dirty="0">
                  <a:latin typeface="+mj-lt"/>
                </a:rPr>
                <a:t>Business </a:t>
              </a:r>
              <a:br>
                <a:rPr lang="en-US" sz="1100" b="1" dirty="0">
                  <a:latin typeface="+mj-lt"/>
                </a:rPr>
              </a:br>
              <a:r>
                <a:rPr lang="en-US" sz="1100" b="1" dirty="0">
                  <a:latin typeface="+mj-lt"/>
                </a:rPr>
                <a:t>innovation</a:t>
              </a:r>
            </a:p>
          </p:txBody>
        </p:sp>
        <p:sp>
          <p:nvSpPr>
            <p:cNvPr id="20" name="Freeform 19"/>
            <p:cNvSpPr/>
            <p:nvPr/>
          </p:nvSpPr>
          <p:spPr>
            <a:xfrm>
              <a:off x="2342965" y="3147922"/>
              <a:ext cx="1656387" cy="710153"/>
            </a:xfrm>
            <a:custGeom>
              <a:avLst/>
              <a:gdLst>
                <a:gd name="connsiteX0" fmla="*/ 0 w 1656387"/>
                <a:gd name="connsiteY0" fmla="*/ 0 h 710153"/>
                <a:gd name="connsiteX1" fmla="*/ 1301311 w 1656387"/>
                <a:gd name="connsiteY1" fmla="*/ 0 h 710153"/>
                <a:gd name="connsiteX2" fmla="*/ 1656387 w 1656387"/>
                <a:gd name="connsiteY2" fmla="*/ 355077 h 710153"/>
                <a:gd name="connsiteX3" fmla="*/ 1301311 w 1656387"/>
                <a:gd name="connsiteY3" fmla="*/ 710153 h 710153"/>
                <a:gd name="connsiteX4" fmla="*/ 0 w 1656387"/>
                <a:gd name="connsiteY4" fmla="*/ 710153 h 710153"/>
                <a:gd name="connsiteX5" fmla="*/ 355077 w 1656387"/>
                <a:gd name="connsiteY5" fmla="*/ 355077 h 710153"/>
                <a:gd name="connsiteX6" fmla="*/ 0 w 1656387"/>
                <a:gd name="connsiteY6" fmla="*/ 0 h 7101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56387" h="710153">
                  <a:moveTo>
                    <a:pt x="0" y="0"/>
                  </a:moveTo>
                  <a:lnTo>
                    <a:pt x="1301311" y="0"/>
                  </a:lnTo>
                  <a:lnTo>
                    <a:pt x="1656387" y="355077"/>
                  </a:lnTo>
                  <a:lnTo>
                    <a:pt x="1301311" y="710153"/>
                  </a:lnTo>
                  <a:lnTo>
                    <a:pt x="0" y="710153"/>
                  </a:lnTo>
                  <a:lnTo>
                    <a:pt x="355077" y="35507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50000"/>
                <a:lumOff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25000"/>
                <a:lumOff val="-735"/>
                <a:alphaOff val="0"/>
              </a:schemeClr>
            </a:fillRef>
            <a:effectRef idx="0">
              <a:schemeClr val="accent4">
                <a:hueOff val="0"/>
                <a:satOff val="25000"/>
                <a:lumOff val="-735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" tIns="29337" rIns="0" bIns="29337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100" b="1" kern="1200" dirty="0">
                  <a:latin typeface="+mj-lt"/>
                </a:rPr>
                <a:t>Regulatory</a:t>
              </a:r>
              <a:br>
                <a:rPr lang="en-US" sz="1100" b="1" kern="1200" dirty="0">
                  <a:latin typeface="+mj-lt"/>
                </a:rPr>
              </a:br>
              <a:r>
                <a:rPr lang="en-US" sz="1100" b="1" kern="1200" dirty="0">
                  <a:latin typeface="+mj-lt"/>
                </a:rPr>
                <a:t> analysis</a:t>
              </a:r>
            </a:p>
          </p:txBody>
        </p:sp>
        <p:sp>
          <p:nvSpPr>
            <p:cNvPr id="21" name="Freeform 20"/>
            <p:cNvSpPr/>
            <p:nvPr/>
          </p:nvSpPr>
          <p:spPr>
            <a:xfrm>
              <a:off x="3634947" y="3138593"/>
              <a:ext cx="1822028" cy="728811"/>
            </a:xfrm>
            <a:custGeom>
              <a:avLst/>
              <a:gdLst>
                <a:gd name="connsiteX0" fmla="*/ 0 w 1822028"/>
                <a:gd name="connsiteY0" fmla="*/ 0 h 728811"/>
                <a:gd name="connsiteX1" fmla="*/ 1457623 w 1822028"/>
                <a:gd name="connsiteY1" fmla="*/ 0 h 728811"/>
                <a:gd name="connsiteX2" fmla="*/ 1822028 w 1822028"/>
                <a:gd name="connsiteY2" fmla="*/ 364406 h 728811"/>
                <a:gd name="connsiteX3" fmla="*/ 1457623 w 1822028"/>
                <a:gd name="connsiteY3" fmla="*/ 728811 h 728811"/>
                <a:gd name="connsiteX4" fmla="*/ 0 w 1822028"/>
                <a:gd name="connsiteY4" fmla="*/ 728811 h 728811"/>
                <a:gd name="connsiteX5" fmla="*/ 364406 w 1822028"/>
                <a:gd name="connsiteY5" fmla="*/ 364406 h 728811"/>
                <a:gd name="connsiteX6" fmla="*/ 0 w 1822028"/>
                <a:gd name="connsiteY6" fmla="*/ 0 h 728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22028" h="728811">
                  <a:moveTo>
                    <a:pt x="0" y="0"/>
                  </a:moveTo>
                  <a:lnTo>
                    <a:pt x="1457623" y="0"/>
                  </a:lnTo>
                  <a:lnTo>
                    <a:pt x="1822028" y="364406"/>
                  </a:lnTo>
                  <a:lnTo>
                    <a:pt x="1457623" y="728811"/>
                  </a:lnTo>
                  <a:lnTo>
                    <a:pt x="0" y="728811"/>
                  </a:lnTo>
                  <a:lnTo>
                    <a:pt x="364406" y="3644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65000"/>
                <a:lumOff val="3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50000"/>
                <a:lumOff val="-1471"/>
                <a:alphaOff val="0"/>
              </a:schemeClr>
            </a:fillRef>
            <a:effectRef idx="0">
              <a:schemeClr val="accent4">
                <a:hueOff val="0"/>
                <a:satOff val="50000"/>
                <a:lumOff val="-1471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" tIns="29337" rIns="0" bIns="29337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100" b="1" kern="1200" dirty="0">
                  <a:latin typeface="+mj-lt"/>
                </a:rPr>
                <a:t>Filing with </a:t>
              </a:r>
              <a:br>
                <a:rPr lang="en-US" sz="1100" b="1" kern="1200" dirty="0">
                  <a:latin typeface="+mj-lt"/>
                </a:rPr>
              </a:br>
              <a:r>
                <a:rPr lang="en-US" sz="1100" b="1" kern="1200" dirty="0">
                  <a:latin typeface="+mj-lt"/>
                </a:rPr>
                <a:t>regulator</a:t>
              </a:r>
            </a:p>
          </p:txBody>
        </p:sp>
        <p:sp>
          <p:nvSpPr>
            <p:cNvPr id="22" name="Freeform 21"/>
            <p:cNvSpPr/>
            <p:nvPr/>
          </p:nvSpPr>
          <p:spPr>
            <a:xfrm>
              <a:off x="5092570" y="3138593"/>
              <a:ext cx="1822028" cy="728811"/>
            </a:xfrm>
            <a:custGeom>
              <a:avLst/>
              <a:gdLst>
                <a:gd name="connsiteX0" fmla="*/ 0 w 1822028"/>
                <a:gd name="connsiteY0" fmla="*/ 0 h 728811"/>
                <a:gd name="connsiteX1" fmla="*/ 1457623 w 1822028"/>
                <a:gd name="connsiteY1" fmla="*/ 0 h 728811"/>
                <a:gd name="connsiteX2" fmla="*/ 1822028 w 1822028"/>
                <a:gd name="connsiteY2" fmla="*/ 364406 h 728811"/>
                <a:gd name="connsiteX3" fmla="*/ 1457623 w 1822028"/>
                <a:gd name="connsiteY3" fmla="*/ 728811 h 728811"/>
                <a:gd name="connsiteX4" fmla="*/ 0 w 1822028"/>
                <a:gd name="connsiteY4" fmla="*/ 728811 h 728811"/>
                <a:gd name="connsiteX5" fmla="*/ 364406 w 1822028"/>
                <a:gd name="connsiteY5" fmla="*/ 364406 h 728811"/>
                <a:gd name="connsiteX6" fmla="*/ 0 w 1822028"/>
                <a:gd name="connsiteY6" fmla="*/ 0 h 728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22028" h="728811">
                  <a:moveTo>
                    <a:pt x="0" y="0"/>
                  </a:moveTo>
                  <a:lnTo>
                    <a:pt x="1457623" y="0"/>
                  </a:lnTo>
                  <a:lnTo>
                    <a:pt x="1822028" y="364406"/>
                  </a:lnTo>
                  <a:lnTo>
                    <a:pt x="1457623" y="728811"/>
                  </a:lnTo>
                  <a:lnTo>
                    <a:pt x="0" y="728811"/>
                  </a:lnTo>
                  <a:lnTo>
                    <a:pt x="364406" y="3644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lumOff val="2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75000"/>
                <a:lumOff val="-2206"/>
                <a:alphaOff val="0"/>
              </a:schemeClr>
            </a:fillRef>
            <a:effectRef idx="0">
              <a:schemeClr val="accent4">
                <a:hueOff val="0"/>
                <a:satOff val="75000"/>
                <a:lumOff val="-2206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" tIns="29337" rIns="0" bIns="29337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100" b="1" kern="1200" dirty="0">
                  <a:latin typeface="+mj-lt"/>
                </a:rPr>
                <a:t>Regulatory </a:t>
              </a:r>
              <a:br>
                <a:rPr lang="en-US" sz="1100" b="1" kern="1200" dirty="0">
                  <a:latin typeface="+mj-lt"/>
                </a:rPr>
              </a:br>
              <a:r>
                <a:rPr lang="en-US" sz="1100" b="1" kern="1200" dirty="0">
                  <a:latin typeface="+mj-lt"/>
                </a:rPr>
                <a:t>approval</a:t>
              </a:r>
            </a:p>
          </p:txBody>
        </p:sp>
        <p:sp>
          <p:nvSpPr>
            <p:cNvPr id="23" name="Freeform 22"/>
            <p:cNvSpPr/>
            <p:nvPr/>
          </p:nvSpPr>
          <p:spPr>
            <a:xfrm>
              <a:off x="6550192" y="3138593"/>
              <a:ext cx="1822028" cy="728811"/>
            </a:xfrm>
            <a:custGeom>
              <a:avLst/>
              <a:gdLst>
                <a:gd name="connsiteX0" fmla="*/ 0 w 1822028"/>
                <a:gd name="connsiteY0" fmla="*/ 0 h 728811"/>
                <a:gd name="connsiteX1" fmla="*/ 1457623 w 1822028"/>
                <a:gd name="connsiteY1" fmla="*/ 0 h 728811"/>
                <a:gd name="connsiteX2" fmla="*/ 1822028 w 1822028"/>
                <a:gd name="connsiteY2" fmla="*/ 364406 h 728811"/>
                <a:gd name="connsiteX3" fmla="*/ 1457623 w 1822028"/>
                <a:gd name="connsiteY3" fmla="*/ 728811 h 728811"/>
                <a:gd name="connsiteX4" fmla="*/ 0 w 1822028"/>
                <a:gd name="connsiteY4" fmla="*/ 728811 h 728811"/>
                <a:gd name="connsiteX5" fmla="*/ 364406 w 1822028"/>
                <a:gd name="connsiteY5" fmla="*/ 364406 h 728811"/>
                <a:gd name="connsiteX6" fmla="*/ 0 w 1822028"/>
                <a:gd name="connsiteY6" fmla="*/ 0 h 7288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822028" h="728811">
                  <a:moveTo>
                    <a:pt x="0" y="0"/>
                  </a:moveTo>
                  <a:lnTo>
                    <a:pt x="1457623" y="0"/>
                  </a:lnTo>
                  <a:lnTo>
                    <a:pt x="1822028" y="364406"/>
                  </a:lnTo>
                  <a:lnTo>
                    <a:pt x="1457623" y="728811"/>
                  </a:lnTo>
                  <a:lnTo>
                    <a:pt x="0" y="728811"/>
                  </a:lnTo>
                  <a:lnTo>
                    <a:pt x="364406" y="36440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shade val="80000"/>
                <a:hueOff val="0"/>
                <a:satOff val="0"/>
                <a:lumOff val="14596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" tIns="26670" rIns="0" bIns="26670" numCol="1" spcCol="1270" anchor="ctr" anchorCtr="0">
              <a:noAutofit/>
            </a:bodyPr>
            <a:lstStyle/>
            <a:p>
              <a:pPr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100" b="1" dirty="0">
                  <a:latin typeface="+mj-lt"/>
                </a:rPr>
                <a:t>Implementation</a:t>
              </a:r>
            </a:p>
          </p:txBody>
        </p:sp>
        <p:sp>
          <p:nvSpPr>
            <p:cNvPr id="25" name="Freeform 24"/>
            <p:cNvSpPr/>
            <p:nvPr/>
          </p:nvSpPr>
          <p:spPr>
            <a:xfrm>
              <a:off x="882283" y="1585515"/>
              <a:ext cx="1783612" cy="713444"/>
            </a:xfrm>
            <a:custGeom>
              <a:avLst/>
              <a:gdLst>
                <a:gd name="connsiteX0" fmla="*/ 0 w 1783612"/>
                <a:gd name="connsiteY0" fmla="*/ 0 h 713444"/>
                <a:gd name="connsiteX1" fmla="*/ 1426890 w 1783612"/>
                <a:gd name="connsiteY1" fmla="*/ 0 h 713444"/>
                <a:gd name="connsiteX2" fmla="*/ 1783612 w 1783612"/>
                <a:gd name="connsiteY2" fmla="*/ 356722 h 713444"/>
                <a:gd name="connsiteX3" fmla="*/ 1426890 w 1783612"/>
                <a:gd name="connsiteY3" fmla="*/ 713444 h 713444"/>
                <a:gd name="connsiteX4" fmla="*/ 0 w 1783612"/>
                <a:gd name="connsiteY4" fmla="*/ 713444 h 713444"/>
                <a:gd name="connsiteX5" fmla="*/ 0 w 1783612"/>
                <a:gd name="connsiteY5" fmla="*/ 0 h 713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83612" h="713444">
                  <a:moveTo>
                    <a:pt x="0" y="0"/>
                  </a:moveTo>
                  <a:lnTo>
                    <a:pt x="1426890" y="0"/>
                  </a:lnTo>
                  <a:lnTo>
                    <a:pt x="1783612" y="356722"/>
                  </a:lnTo>
                  <a:lnTo>
                    <a:pt x="1426890" y="713444"/>
                  </a:lnTo>
                  <a:lnTo>
                    <a:pt x="0" y="7134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" tIns="26670" rIns="0" bIns="2667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100" b="1" kern="1200" dirty="0">
                  <a:latin typeface="+mj-lt"/>
                </a:rPr>
                <a:t>Business </a:t>
              </a:r>
              <a:br>
                <a:rPr lang="en-US" sz="1100" b="1" kern="1200" dirty="0">
                  <a:latin typeface="+mj-lt"/>
                </a:rPr>
              </a:br>
              <a:r>
                <a:rPr lang="en-US" sz="1100" b="1" kern="1200" dirty="0">
                  <a:latin typeface="+mj-lt"/>
                </a:rPr>
                <a:t>innovation</a:t>
              </a:r>
            </a:p>
          </p:txBody>
        </p:sp>
        <p:sp>
          <p:nvSpPr>
            <p:cNvPr id="26" name="Freeform 25"/>
            <p:cNvSpPr/>
            <p:nvPr/>
          </p:nvSpPr>
          <p:spPr>
            <a:xfrm>
              <a:off x="2283349" y="1585515"/>
              <a:ext cx="1783612" cy="713444"/>
            </a:xfrm>
            <a:custGeom>
              <a:avLst/>
              <a:gdLst>
                <a:gd name="connsiteX0" fmla="*/ 0 w 1783612"/>
                <a:gd name="connsiteY0" fmla="*/ 0 h 713444"/>
                <a:gd name="connsiteX1" fmla="*/ 1426890 w 1783612"/>
                <a:gd name="connsiteY1" fmla="*/ 0 h 713444"/>
                <a:gd name="connsiteX2" fmla="*/ 1783612 w 1783612"/>
                <a:gd name="connsiteY2" fmla="*/ 356722 h 713444"/>
                <a:gd name="connsiteX3" fmla="*/ 1426890 w 1783612"/>
                <a:gd name="connsiteY3" fmla="*/ 713444 h 713444"/>
                <a:gd name="connsiteX4" fmla="*/ 0 w 1783612"/>
                <a:gd name="connsiteY4" fmla="*/ 713444 h 713444"/>
                <a:gd name="connsiteX5" fmla="*/ 356722 w 1783612"/>
                <a:gd name="connsiteY5" fmla="*/ 356722 h 713444"/>
                <a:gd name="connsiteX6" fmla="*/ 0 w 1783612"/>
                <a:gd name="connsiteY6" fmla="*/ 0 h 7134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83612" h="713444">
                  <a:moveTo>
                    <a:pt x="0" y="0"/>
                  </a:moveTo>
                  <a:lnTo>
                    <a:pt x="1426890" y="0"/>
                  </a:lnTo>
                  <a:lnTo>
                    <a:pt x="1783612" y="356722"/>
                  </a:lnTo>
                  <a:lnTo>
                    <a:pt x="1426890" y="713444"/>
                  </a:lnTo>
                  <a:lnTo>
                    <a:pt x="0" y="713444"/>
                  </a:lnTo>
                  <a:lnTo>
                    <a:pt x="356722" y="35672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shade val="80000"/>
                <a:hueOff val="0"/>
                <a:satOff val="0"/>
                <a:lumOff val="14596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72000" tIns="26670" rIns="0" bIns="2667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100" b="1" kern="1200" dirty="0">
                  <a:latin typeface="+mj-lt"/>
                </a:rPr>
                <a:t>Implementation</a:t>
              </a: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829423" y="1275606"/>
              <a:ext cx="194636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>
                  <a:solidFill>
                    <a:schemeClr val="tx2"/>
                  </a:solidFill>
                  <a:latin typeface="+mj-lt"/>
                </a:rPr>
                <a:t>Unregulated Competitor</a:t>
              </a: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827584" y="2840145"/>
              <a:ext cx="179247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>
                <a:defRPr sz="1400">
                  <a:solidFill>
                    <a:srgbClr val="C00000"/>
                  </a:solidFill>
                  <a:latin typeface="+mj-lt"/>
                </a:defRPr>
              </a:lvl1pPr>
            </a:lstStyle>
            <a:p>
              <a:r>
                <a:rPr lang="en-US" sz="1200" b="1" dirty="0">
                  <a:solidFill>
                    <a:schemeClr val="tx2"/>
                  </a:solidFill>
                </a:rPr>
                <a:t>Regulated Competitor</a:t>
              </a:r>
            </a:p>
          </p:txBody>
        </p:sp>
        <p:sp>
          <p:nvSpPr>
            <p:cNvPr id="9" name="Explosion 1 8"/>
            <p:cNvSpPr/>
            <p:nvPr/>
          </p:nvSpPr>
          <p:spPr>
            <a:xfrm>
              <a:off x="6539388" y="2308290"/>
              <a:ext cx="1468427" cy="1074492"/>
            </a:xfrm>
            <a:prstGeom prst="irregularSeal1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1000" b="1" i="1" dirty="0">
                  <a:solidFill>
                    <a:srgbClr val="C00000"/>
                  </a:solidFill>
                  <a:latin typeface="+mj-lt"/>
                </a:rPr>
                <a:t>Longer time to market</a:t>
              </a:r>
            </a:p>
          </p:txBody>
        </p:sp>
        <p:sp>
          <p:nvSpPr>
            <p:cNvPr id="10" name="Explosion 1 9"/>
            <p:cNvSpPr/>
            <p:nvPr/>
          </p:nvSpPr>
          <p:spPr>
            <a:xfrm>
              <a:off x="3640814" y="2308289"/>
              <a:ext cx="1850065" cy="1074494"/>
            </a:xfrm>
            <a:prstGeom prst="irregularSeal1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1000" b="1" i="1" dirty="0">
                  <a:solidFill>
                    <a:srgbClr val="C00000"/>
                  </a:solidFill>
                  <a:latin typeface="+mj-lt"/>
                </a:rPr>
                <a:t>Disclosure to competitors</a:t>
              </a:r>
            </a:p>
          </p:txBody>
        </p:sp>
        <p:sp>
          <p:nvSpPr>
            <p:cNvPr id="11" name="Explosion 1 10"/>
            <p:cNvSpPr/>
            <p:nvPr/>
          </p:nvSpPr>
          <p:spPr>
            <a:xfrm>
              <a:off x="5352143" y="3679683"/>
              <a:ext cx="1573259" cy="867079"/>
            </a:xfrm>
            <a:prstGeom prst="irregularSeal1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1000" b="1" i="1" dirty="0">
                  <a:solidFill>
                    <a:srgbClr val="C00000"/>
                  </a:solidFill>
                  <a:latin typeface="+mj-lt"/>
                </a:rPr>
                <a:t>Risk of rejection</a:t>
              </a:r>
            </a:p>
          </p:txBody>
        </p:sp>
        <p:sp>
          <p:nvSpPr>
            <p:cNvPr id="12" name="Explosion 1 11"/>
            <p:cNvSpPr/>
            <p:nvPr/>
          </p:nvSpPr>
          <p:spPr>
            <a:xfrm>
              <a:off x="2552534" y="3679683"/>
              <a:ext cx="1595051" cy="923835"/>
            </a:xfrm>
            <a:prstGeom prst="irregularSeal1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en-US" sz="1000" b="1" i="1" dirty="0">
                  <a:solidFill>
                    <a:srgbClr val="C00000"/>
                  </a:solidFill>
                  <a:latin typeface="+mj-lt"/>
                </a:rPr>
                <a:t>Innovations discard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436736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5576" y="365833"/>
            <a:ext cx="7885241" cy="661197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2800" dirty="0"/>
              <a:t>Principles of a New Regulatory Framewo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62F52FB-296C-D94D-AE53-C62C85B1408B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Subtitle 2"/>
          <p:cNvSpPr txBox="1">
            <a:spLocks/>
          </p:cNvSpPr>
          <p:nvPr/>
        </p:nvSpPr>
        <p:spPr>
          <a:xfrm>
            <a:off x="5868144" y="1324744"/>
            <a:ext cx="2376264" cy="2984880"/>
          </a:xfrm>
          <a:prstGeom prst="rect">
            <a:avLst/>
          </a:prstGeom>
          <a:noFill/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ctr">
              <a:lnSpc>
                <a:spcPct val="130000"/>
              </a:lnSpc>
              <a:defRPr sz="1400" b="1" i="1" kern="0">
                <a:solidFill>
                  <a:srgbClr val="C00000"/>
                </a:solidFill>
                <a:latin typeface="+mj-lt"/>
              </a:defRPr>
            </a:lvl1pPr>
          </a:lstStyle>
          <a:p>
            <a:r>
              <a:rPr lang="en-US" dirty="0"/>
              <a:t>The new framework will reduce regulatory asymmetries, promote dynamic competition and innovation, and allow regulatory objectives to be achieved more effectively at lower cost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827584" y="1336783"/>
            <a:ext cx="4752528" cy="2984375"/>
            <a:chOff x="1004672" y="1171551"/>
            <a:chExt cx="4791464" cy="3344415"/>
          </a:xfrm>
        </p:grpSpPr>
        <p:sp>
          <p:nvSpPr>
            <p:cNvPr id="5" name="Freeform 4"/>
            <p:cNvSpPr/>
            <p:nvPr/>
          </p:nvSpPr>
          <p:spPr>
            <a:xfrm>
              <a:off x="2404359" y="1274740"/>
              <a:ext cx="3391777" cy="825506"/>
            </a:xfrm>
            <a:custGeom>
              <a:avLst/>
              <a:gdLst>
                <a:gd name="connsiteX0" fmla="*/ 137587 w 825505"/>
                <a:gd name="connsiteY0" fmla="*/ 0 h 3391776"/>
                <a:gd name="connsiteX1" fmla="*/ 687918 w 825505"/>
                <a:gd name="connsiteY1" fmla="*/ 0 h 3391776"/>
                <a:gd name="connsiteX2" fmla="*/ 825505 w 825505"/>
                <a:gd name="connsiteY2" fmla="*/ 137587 h 3391776"/>
                <a:gd name="connsiteX3" fmla="*/ 825505 w 825505"/>
                <a:gd name="connsiteY3" fmla="*/ 3391776 h 3391776"/>
                <a:gd name="connsiteX4" fmla="*/ 825505 w 825505"/>
                <a:gd name="connsiteY4" fmla="*/ 3391776 h 3391776"/>
                <a:gd name="connsiteX5" fmla="*/ 0 w 825505"/>
                <a:gd name="connsiteY5" fmla="*/ 3391776 h 3391776"/>
                <a:gd name="connsiteX6" fmla="*/ 0 w 825505"/>
                <a:gd name="connsiteY6" fmla="*/ 3391776 h 3391776"/>
                <a:gd name="connsiteX7" fmla="*/ 0 w 825505"/>
                <a:gd name="connsiteY7" fmla="*/ 137587 h 3391776"/>
                <a:gd name="connsiteX8" fmla="*/ 137587 w 825505"/>
                <a:gd name="connsiteY8" fmla="*/ 0 h 339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25505" h="3391776">
                  <a:moveTo>
                    <a:pt x="825505" y="565309"/>
                  </a:moveTo>
                  <a:lnTo>
                    <a:pt x="825505" y="2826467"/>
                  </a:lnTo>
                  <a:cubicBezTo>
                    <a:pt x="825505" y="3138677"/>
                    <a:pt x="810512" y="3391774"/>
                    <a:pt x="792018" y="3391774"/>
                  </a:cubicBezTo>
                  <a:lnTo>
                    <a:pt x="0" y="3391774"/>
                  </a:lnTo>
                  <a:lnTo>
                    <a:pt x="0" y="3391774"/>
                  </a:lnTo>
                  <a:lnTo>
                    <a:pt x="0" y="2"/>
                  </a:lnTo>
                  <a:lnTo>
                    <a:pt x="0" y="2"/>
                  </a:lnTo>
                  <a:lnTo>
                    <a:pt x="792018" y="2"/>
                  </a:lnTo>
                  <a:cubicBezTo>
                    <a:pt x="810512" y="2"/>
                    <a:pt x="825505" y="253099"/>
                    <a:pt x="825505" y="565309"/>
                  </a:cubicBezTo>
                  <a:close/>
                </a:path>
              </a:pathLst>
            </a:custGeom>
            <a:solidFill>
              <a:schemeClr val="accent3">
                <a:lumMod val="40000"/>
                <a:lumOff val="60000"/>
                <a:alpha val="90000"/>
              </a:schemeClr>
            </a:solidFill>
            <a:ln>
              <a:solidFill>
                <a:schemeClr val="accent3">
                  <a:lumMod val="50000"/>
                  <a:alpha val="90000"/>
                </a:schemeClr>
              </a:solidFill>
            </a:ln>
          </p:spPr>
          <p:style>
            <a:lnRef idx="2">
              <a:schemeClr val="accent5">
                <a:tint val="40000"/>
                <a:alpha val="90000"/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tint val="40000"/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tint val="40000"/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44000" tIns="65063" rIns="89828" bIns="65064" numCol="1" spcCol="1270" anchor="ctr" anchorCtr="0">
              <a:noAutofit/>
            </a:bodyPr>
            <a:lstStyle/>
            <a:p>
              <a:pPr marL="0" lvl="1" algn="l" defTabSz="577850">
                <a:lnSpc>
                  <a:spcPct val="108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dirty="0">
                  <a:solidFill>
                    <a:schemeClr val="accent2"/>
                  </a:solidFill>
                  <a:latin typeface="+mj-lt"/>
                  <a:cs typeface="Arial"/>
                </a:rPr>
                <a:t>Pursue regulatory goals based on achieving regulatory objectives, not legacy structures based on industries or technologies</a:t>
              </a:r>
              <a:endParaRPr lang="en-US" sz="1200" kern="1200" dirty="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7" name="Freeform 6"/>
            <p:cNvSpPr/>
            <p:nvPr/>
          </p:nvSpPr>
          <p:spPr>
            <a:xfrm>
              <a:off x="1004672" y="1171551"/>
              <a:ext cx="1399688" cy="1031882"/>
            </a:xfrm>
            <a:custGeom>
              <a:avLst/>
              <a:gdLst>
                <a:gd name="connsiteX0" fmla="*/ 0 w 1907874"/>
                <a:gd name="connsiteY0" fmla="*/ 171984 h 1031882"/>
                <a:gd name="connsiteX1" fmla="*/ 171984 w 1907874"/>
                <a:gd name="connsiteY1" fmla="*/ 0 h 1031882"/>
                <a:gd name="connsiteX2" fmla="*/ 1735890 w 1907874"/>
                <a:gd name="connsiteY2" fmla="*/ 0 h 1031882"/>
                <a:gd name="connsiteX3" fmla="*/ 1907874 w 1907874"/>
                <a:gd name="connsiteY3" fmla="*/ 171984 h 1031882"/>
                <a:gd name="connsiteX4" fmla="*/ 1907874 w 1907874"/>
                <a:gd name="connsiteY4" fmla="*/ 859898 h 1031882"/>
                <a:gd name="connsiteX5" fmla="*/ 1735890 w 1907874"/>
                <a:gd name="connsiteY5" fmla="*/ 1031882 h 1031882"/>
                <a:gd name="connsiteX6" fmla="*/ 171984 w 1907874"/>
                <a:gd name="connsiteY6" fmla="*/ 1031882 h 1031882"/>
                <a:gd name="connsiteX7" fmla="*/ 0 w 1907874"/>
                <a:gd name="connsiteY7" fmla="*/ 859898 h 1031882"/>
                <a:gd name="connsiteX8" fmla="*/ 0 w 1907874"/>
                <a:gd name="connsiteY8" fmla="*/ 171984 h 1031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7874" h="1031882">
                  <a:moveTo>
                    <a:pt x="0" y="171984"/>
                  </a:moveTo>
                  <a:cubicBezTo>
                    <a:pt x="0" y="77000"/>
                    <a:pt x="77000" y="0"/>
                    <a:pt x="171984" y="0"/>
                  </a:cubicBezTo>
                  <a:lnTo>
                    <a:pt x="1735890" y="0"/>
                  </a:lnTo>
                  <a:cubicBezTo>
                    <a:pt x="1830874" y="0"/>
                    <a:pt x="1907874" y="77000"/>
                    <a:pt x="1907874" y="171984"/>
                  </a:cubicBezTo>
                  <a:lnTo>
                    <a:pt x="1907874" y="859898"/>
                  </a:lnTo>
                  <a:cubicBezTo>
                    <a:pt x="1907874" y="954882"/>
                    <a:pt x="1830874" y="1031882"/>
                    <a:pt x="1735890" y="1031882"/>
                  </a:cubicBezTo>
                  <a:lnTo>
                    <a:pt x="171984" y="1031882"/>
                  </a:lnTo>
                  <a:cubicBezTo>
                    <a:pt x="77000" y="1031882"/>
                    <a:pt x="0" y="954882"/>
                    <a:pt x="0" y="859898"/>
                  </a:cubicBezTo>
                  <a:lnTo>
                    <a:pt x="0" y="171984"/>
                  </a:lnTo>
                  <a:close/>
                </a:path>
              </a:pathLst>
            </a:custGeom>
            <a:solidFill>
              <a:schemeClr val="accent3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8952" tIns="84662" rIns="118952" bIns="84662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b="1" kern="1200" dirty="0">
                  <a:latin typeface="+mj-lt"/>
                  <a:cs typeface="Arial"/>
                </a:rPr>
                <a:t>Functionality-based</a:t>
              </a:r>
              <a:endParaRPr lang="en-US" sz="1200" kern="1200" dirty="0">
                <a:latin typeface="+mj-lt"/>
              </a:endParaRPr>
            </a:p>
          </p:txBody>
        </p:sp>
        <p:sp>
          <p:nvSpPr>
            <p:cNvPr id="8" name="Freeform 7"/>
            <p:cNvSpPr/>
            <p:nvPr/>
          </p:nvSpPr>
          <p:spPr>
            <a:xfrm>
              <a:off x="2404359" y="2431788"/>
              <a:ext cx="3391777" cy="825506"/>
            </a:xfrm>
            <a:custGeom>
              <a:avLst/>
              <a:gdLst>
                <a:gd name="connsiteX0" fmla="*/ 137587 w 825505"/>
                <a:gd name="connsiteY0" fmla="*/ 0 h 3391776"/>
                <a:gd name="connsiteX1" fmla="*/ 687918 w 825505"/>
                <a:gd name="connsiteY1" fmla="*/ 0 h 3391776"/>
                <a:gd name="connsiteX2" fmla="*/ 825505 w 825505"/>
                <a:gd name="connsiteY2" fmla="*/ 137587 h 3391776"/>
                <a:gd name="connsiteX3" fmla="*/ 825505 w 825505"/>
                <a:gd name="connsiteY3" fmla="*/ 3391776 h 3391776"/>
                <a:gd name="connsiteX4" fmla="*/ 825505 w 825505"/>
                <a:gd name="connsiteY4" fmla="*/ 3391776 h 3391776"/>
                <a:gd name="connsiteX5" fmla="*/ 0 w 825505"/>
                <a:gd name="connsiteY5" fmla="*/ 3391776 h 3391776"/>
                <a:gd name="connsiteX6" fmla="*/ 0 w 825505"/>
                <a:gd name="connsiteY6" fmla="*/ 3391776 h 3391776"/>
                <a:gd name="connsiteX7" fmla="*/ 0 w 825505"/>
                <a:gd name="connsiteY7" fmla="*/ 137587 h 3391776"/>
                <a:gd name="connsiteX8" fmla="*/ 137587 w 825505"/>
                <a:gd name="connsiteY8" fmla="*/ 0 h 339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25505" h="3391776">
                  <a:moveTo>
                    <a:pt x="825505" y="565309"/>
                  </a:moveTo>
                  <a:lnTo>
                    <a:pt x="825505" y="2826467"/>
                  </a:lnTo>
                  <a:cubicBezTo>
                    <a:pt x="825505" y="3138677"/>
                    <a:pt x="810512" y="3391774"/>
                    <a:pt x="792018" y="3391774"/>
                  </a:cubicBezTo>
                  <a:lnTo>
                    <a:pt x="0" y="3391774"/>
                  </a:lnTo>
                  <a:lnTo>
                    <a:pt x="0" y="3391774"/>
                  </a:lnTo>
                  <a:lnTo>
                    <a:pt x="0" y="2"/>
                  </a:lnTo>
                  <a:lnTo>
                    <a:pt x="0" y="2"/>
                  </a:lnTo>
                  <a:lnTo>
                    <a:pt x="792018" y="2"/>
                  </a:lnTo>
                  <a:cubicBezTo>
                    <a:pt x="810512" y="2"/>
                    <a:pt x="825505" y="253099"/>
                    <a:pt x="825505" y="565309"/>
                  </a:cubicBezTo>
                  <a:close/>
                </a:path>
              </a:pathLst>
            </a:custGeom>
            <a:solidFill>
              <a:schemeClr val="accent1">
                <a:lumMod val="20000"/>
                <a:lumOff val="80000"/>
                <a:alpha val="90000"/>
              </a:schemeClr>
            </a:solidFill>
            <a:ln>
              <a:solidFill>
                <a:schemeClr val="accent1">
                  <a:lumMod val="50000"/>
                  <a:alpha val="90000"/>
                </a:schemeClr>
              </a:solidFill>
            </a:ln>
          </p:spPr>
          <p:style>
            <a:lnRef idx="2">
              <a:schemeClr val="accent5">
                <a:tint val="40000"/>
                <a:alpha val="90000"/>
                <a:hueOff val="0"/>
                <a:satOff val="-50000"/>
                <a:lumOff val="-5057"/>
                <a:alphaOff val="0"/>
              </a:schemeClr>
            </a:lnRef>
            <a:fillRef idx="1">
              <a:schemeClr val="accent5">
                <a:tint val="40000"/>
                <a:alpha val="90000"/>
                <a:hueOff val="0"/>
                <a:satOff val="-50000"/>
                <a:lumOff val="-5057"/>
                <a:alphaOff val="0"/>
              </a:schemeClr>
            </a:fillRef>
            <a:effectRef idx="0">
              <a:schemeClr val="accent5">
                <a:tint val="40000"/>
                <a:alpha val="90000"/>
                <a:hueOff val="0"/>
                <a:satOff val="-50000"/>
                <a:lumOff val="-5057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44000" tIns="65063" rIns="89828" bIns="65064" numCol="1" spcCol="1270" anchor="ctr" anchorCtr="0">
              <a:noAutofit/>
            </a:bodyPr>
            <a:lstStyle/>
            <a:p>
              <a:pPr marL="0" lvl="1" algn="l" defTabSz="577850">
                <a:lnSpc>
                  <a:spcPct val="108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kern="1200" dirty="0">
                  <a:solidFill>
                    <a:schemeClr val="accent2"/>
                  </a:solidFill>
                  <a:latin typeface="+mj-lt"/>
                  <a:cs typeface="Arial"/>
                </a:rPr>
                <a:t>Give preference to performance-based regulation through ex post enforcement </a:t>
              </a:r>
              <a:br>
                <a:rPr lang="en-US" sz="1200" kern="1200" dirty="0">
                  <a:solidFill>
                    <a:schemeClr val="accent2"/>
                  </a:solidFill>
                  <a:latin typeface="+mj-lt"/>
                  <a:cs typeface="Arial"/>
                </a:rPr>
              </a:br>
              <a:r>
                <a:rPr lang="en-US" sz="1200" kern="1200" dirty="0">
                  <a:solidFill>
                    <a:schemeClr val="accent2"/>
                  </a:solidFill>
                  <a:latin typeface="+mj-lt"/>
                  <a:cs typeface="Arial"/>
                </a:rPr>
                <a:t>over prescriptive, ex ante rules</a:t>
              </a:r>
              <a:endParaRPr lang="en-US" sz="1200" kern="1200" dirty="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>
              <a:off x="1004672" y="2328599"/>
              <a:ext cx="1399688" cy="1031882"/>
            </a:xfrm>
            <a:custGeom>
              <a:avLst/>
              <a:gdLst>
                <a:gd name="connsiteX0" fmla="*/ 0 w 1907874"/>
                <a:gd name="connsiteY0" fmla="*/ 171984 h 1031882"/>
                <a:gd name="connsiteX1" fmla="*/ 171984 w 1907874"/>
                <a:gd name="connsiteY1" fmla="*/ 0 h 1031882"/>
                <a:gd name="connsiteX2" fmla="*/ 1735890 w 1907874"/>
                <a:gd name="connsiteY2" fmla="*/ 0 h 1031882"/>
                <a:gd name="connsiteX3" fmla="*/ 1907874 w 1907874"/>
                <a:gd name="connsiteY3" fmla="*/ 171984 h 1031882"/>
                <a:gd name="connsiteX4" fmla="*/ 1907874 w 1907874"/>
                <a:gd name="connsiteY4" fmla="*/ 859898 h 1031882"/>
                <a:gd name="connsiteX5" fmla="*/ 1735890 w 1907874"/>
                <a:gd name="connsiteY5" fmla="*/ 1031882 h 1031882"/>
                <a:gd name="connsiteX6" fmla="*/ 171984 w 1907874"/>
                <a:gd name="connsiteY6" fmla="*/ 1031882 h 1031882"/>
                <a:gd name="connsiteX7" fmla="*/ 0 w 1907874"/>
                <a:gd name="connsiteY7" fmla="*/ 859898 h 1031882"/>
                <a:gd name="connsiteX8" fmla="*/ 0 w 1907874"/>
                <a:gd name="connsiteY8" fmla="*/ 171984 h 1031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7874" h="1031882">
                  <a:moveTo>
                    <a:pt x="0" y="171984"/>
                  </a:moveTo>
                  <a:cubicBezTo>
                    <a:pt x="0" y="77000"/>
                    <a:pt x="77000" y="0"/>
                    <a:pt x="171984" y="0"/>
                  </a:cubicBezTo>
                  <a:lnTo>
                    <a:pt x="1735890" y="0"/>
                  </a:lnTo>
                  <a:cubicBezTo>
                    <a:pt x="1830874" y="0"/>
                    <a:pt x="1907874" y="77000"/>
                    <a:pt x="1907874" y="171984"/>
                  </a:cubicBezTo>
                  <a:lnTo>
                    <a:pt x="1907874" y="859898"/>
                  </a:lnTo>
                  <a:cubicBezTo>
                    <a:pt x="1907874" y="954882"/>
                    <a:pt x="1830874" y="1031882"/>
                    <a:pt x="1735890" y="1031882"/>
                  </a:cubicBezTo>
                  <a:lnTo>
                    <a:pt x="171984" y="1031882"/>
                  </a:lnTo>
                  <a:cubicBezTo>
                    <a:pt x="77000" y="1031882"/>
                    <a:pt x="0" y="954882"/>
                    <a:pt x="0" y="859898"/>
                  </a:cubicBezTo>
                  <a:lnTo>
                    <a:pt x="0" y="171984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-50000"/>
                <a:lumOff val="-25000"/>
                <a:alphaOff val="0"/>
              </a:schemeClr>
            </a:fillRef>
            <a:effectRef idx="0">
              <a:schemeClr val="accent5">
                <a:hueOff val="0"/>
                <a:satOff val="-50000"/>
                <a:lumOff val="-2500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8952" tIns="84662" rIns="118952" bIns="84662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b="1" kern="1200" dirty="0">
                  <a:latin typeface="+mj-lt"/>
                  <a:cs typeface="Arial"/>
                </a:rPr>
                <a:t>Dynamic</a:t>
              </a:r>
              <a:endParaRPr lang="en-US" sz="1400" kern="1200" dirty="0">
                <a:latin typeface="+mj-lt"/>
              </a:endParaRPr>
            </a:p>
          </p:txBody>
        </p:sp>
        <p:sp>
          <p:nvSpPr>
            <p:cNvPr id="11" name="Freeform 10"/>
            <p:cNvSpPr/>
            <p:nvPr/>
          </p:nvSpPr>
          <p:spPr>
            <a:xfrm>
              <a:off x="2404359" y="3587272"/>
              <a:ext cx="3391777" cy="825506"/>
            </a:xfrm>
            <a:custGeom>
              <a:avLst/>
              <a:gdLst>
                <a:gd name="connsiteX0" fmla="*/ 137587 w 825505"/>
                <a:gd name="connsiteY0" fmla="*/ 0 h 3391776"/>
                <a:gd name="connsiteX1" fmla="*/ 687918 w 825505"/>
                <a:gd name="connsiteY1" fmla="*/ 0 h 3391776"/>
                <a:gd name="connsiteX2" fmla="*/ 825505 w 825505"/>
                <a:gd name="connsiteY2" fmla="*/ 137587 h 3391776"/>
                <a:gd name="connsiteX3" fmla="*/ 825505 w 825505"/>
                <a:gd name="connsiteY3" fmla="*/ 3391776 h 3391776"/>
                <a:gd name="connsiteX4" fmla="*/ 825505 w 825505"/>
                <a:gd name="connsiteY4" fmla="*/ 3391776 h 3391776"/>
                <a:gd name="connsiteX5" fmla="*/ 0 w 825505"/>
                <a:gd name="connsiteY5" fmla="*/ 3391776 h 3391776"/>
                <a:gd name="connsiteX6" fmla="*/ 0 w 825505"/>
                <a:gd name="connsiteY6" fmla="*/ 3391776 h 3391776"/>
                <a:gd name="connsiteX7" fmla="*/ 0 w 825505"/>
                <a:gd name="connsiteY7" fmla="*/ 137587 h 3391776"/>
                <a:gd name="connsiteX8" fmla="*/ 137587 w 825505"/>
                <a:gd name="connsiteY8" fmla="*/ 0 h 3391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25505" h="3391776">
                  <a:moveTo>
                    <a:pt x="825505" y="565309"/>
                  </a:moveTo>
                  <a:lnTo>
                    <a:pt x="825505" y="2826467"/>
                  </a:lnTo>
                  <a:cubicBezTo>
                    <a:pt x="825505" y="3138677"/>
                    <a:pt x="810512" y="3391774"/>
                    <a:pt x="792018" y="3391774"/>
                  </a:cubicBezTo>
                  <a:lnTo>
                    <a:pt x="0" y="3391774"/>
                  </a:lnTo>
                  <a:lnTo>
                    <a:pt x="0" y="3391774"/>
                  </a:lnTo>
                  <a:lnTo>
                    <a:pt x="0" y="2"/>
                  </a:lnTo>
                  <a:lnTo>
                    <a:pt x="0" y="2"/>
                  </a:lnTo>
                  <a:lnTo>
                    <a:pt x="792018" y="2"/>
                  </a:lnTo>
                  <a:cubicBezTo>
                    <a:pt x="810512" y="2"/>
                    <a:pt x="825505" y="253099"/>
                    <a:pt x="825505" y="565309"/>
                  </a:cubicBezTo>
                  <a:close/>
                </a:path>
              </a:pathLst>
            </a:custGeom>
            <a:solidFill>
              <a:schemeClr val="bg1">
                <a:lumMod val="95000"/>
                <a:alpha val="90000"/>
              </a:schemeClr>
            </a:solidFill>
            <a:ln>
              <a:solidFill>
                <a:schemeClr val="tx1">
                  <a:alpha val="90000"/>
                </a:schemeClr>
              </a:solidFill>
            </a:ln>
          </p:spPr>
          <p:style>
            <a:lnRef idx="2">
              <a:schemeClr val="accent5">
                <a:tint val="40000"/>
                <a:alpha val="90000"/>
                <a:hueOff val="0"/>
                <a:satOff val="-100000"/>
                <a:lumOff val="-10113"/>
                <a:alphaOff val="0"/>
              </a:schemeClr>
            </a:lnRef>
            <a:fillRef idx="1">
              <a:schemeClr val="accent5">
                <a:tint val="40000"/>
                <a:alpha val="90000"/>
                <a:hueOff val="0"/>
                <a:satOff val="-100000"/>
                <a:lumOff val="-10113"/>
                <a:alphaOff val="0"/>
              </a:schemeClr>
            </a:fillRef>
            <a:effectRef idx="0">
              <a:schemeClr val="accent5">
                <a:tint val="40000"/>
                <a:alpha val="90000"/>
                <a:hueOff val="0"/>
                <a:satOff val="-100000"/>
                <a:lumOff val="-10113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44000" tIns="65063" rIns="89828" bIns="65064" numCol="1" spcCol="1270" anchor="ctr" anchorCtr="0">
              <a:noAutofit/>
            </a:bodyPr>
            <a:lstStyle/>
            <a:p>
              <a:pPr marL="0" lvl="1" algn="l" defTabSz="577850">
                <a:lnSpc>
                  <a:spcPct val="108000"/>
                </a:lnSpc>
                <a:spcBef>
                  <a:spcPct val="0"/>
                </a:spcBef>
                <a:spcAft>
                  <a:spcPct val="15000"/>
                </a:spcAft>
              </a:pPr>
              <a:r>
                <a:rPr lang="en-US" sz="1200" dirty="0">
                  <a:solidFill>
                    <a:schemeClr val="accent2"/>
                  </a:solidFill>
                  <a:latin typeface="+mj-lt"/>
                  <a:cs typeface="Arial"/>
                </a:rPr>
                <a:t>Consider new approaches to </a:t>
              </a:r>
              <a:r>
                <a:rPr lang="en-US" sz="1200" kern="1200" dirty="0">
                  <a:solidFill>
                    <a:schemeClr val="accent2"/>
                  </a:solidFill>
                  <a:latin typeface="+mj-lt"/>
                  <a:cs typeface="Arial"/>
                </a:rPr>
                <a:t>regulation — including the need for regulation — in light of current market realities</a:t>
              </a:r>
              <a:endParaRPr lang="en-US" sz="1200" kern="1200" dirty="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12" name="Freeform 11"/>
            <p:cNvSpPr/>
            <p:nvPr/>
          </p:nvSpPr>
          <p:spPr>
            <a:xfrm>
              <a:off x="1004672" y="3484084"/>
              <a:ext cx="1399688" cy="1031882"/>
            </a:xfrm>
            <a:custGeom>
              <a:avLst/>
              <a:gdLst>
                <a:gd name="connsiteX0" fmla="*/ 0 w 1907874"/>
                <a:gd name="connsiteY0" fmla="*/ 171984 h 1031882"/>
                <a:gd name="connsiteX1" fmla="*/ 171984 w 1907874"/>
                <a:gd name="connsiteY1" fmla="*/ 0 h 1031882"/>
                <a:gd name="connsiteX2" fmla="*/ 1735890 w 1907874"/>
                <a:gd name="connsiteY2" fmla="*/ 0 h 1031882"/>
                <a:gd name="connsiteX3" fmla="*/ 1907874 w 1907874"/>
                <a:gd name="connsiteY3" fmla="*/ 171984 h 1031882"/>
                <a:gd name="connsiteX4" fmla="*/ 1907874 w 1907874"/>
                <a:gd name="connsiteY4" fmla="*/ 859898 h 1031882"/>
                <a:gd name="connsiteX5" fmla="*/ 1735890 w 1907874"/>
                <a:gd name="connsiteY5" fmla="*/ 1031882 h 1031882"/>
                <a:gd name="connsiteX6" fmla="*/ 171984 w 1907874"/>
                <a:gd name="connsiteY6" fmla="*/ 1031882 h 1031882"/>
                <a:gd name="connsiteX7" fmla="*/ 0 w 1907874"/>
                <a:gd name="connsiteY7" fmla="*/ 859898 h 1031882"/>
                <a:gd name="connsiteX8" fmla="*/ 0 w 1907874"/>
                <a:gd name="connsiteY8" fmla="*/ 171984 h 1031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7874" h="1031882">
                  <a:moveTo>
                    <a:pt x="0" y="171984"/>
                  </a:moveTo>
                  <a:cubicBezTo>
                    <a:pt x="0" y="77000"/>
                    <a:pt x="77000" y="0"/>
                    <a:pt x="171984" y="0"/>
                  </a:cubicBezTo>
                  <a:lnTo>
                    <a:pt x="1735890" y="0"/>
                  </a:lnTo>
                  <a:cubicBezTo>
                    <a:pt x="1830874" y="0"/>
                    <a:pt x="1907874" y="77000"/>
                    <a:pt x="1907874" y="171984"/>
                  </a:cubicBezTo>
                  <a:lnTo>
                    <a:pt x="1907874" y="859898"/>
                  </a:lnTo>
                  <a:cubicBezTo>
                    <a:pt x="1907874" y="954882"/>
                    <a:pt x="1830874" y="1031882"/>
                    <a:pt x="1735890" y="1031882"/>
                  </a:cubicBezTo>
                  <a:lnTo>
                    <a:pt x="171984" y="1031882"/>
                  </a:lnTo>
                  <a:cubicBezTo>
                    <a:pt x="77000" y="1031882"/>
                    <a:pt x="0" y="954882"/>
                    <a:pt x="0" y="859898"/>
                  </a:cubicBezTo>
                  <a:lnTo>
                    <a:pt x="0" y="171984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-100000"/>
                <a:lumOff val="-50000"/>
                <a:alphaOff val="0"/>
              </a:schemeClr>
            </a:fillRef>
            <a:effectRef idx="0">
              <a:schemeClr val="accent5">
                <a:hueOff val="0"/>
                <a:satOff val="-100000"/>
                <a:lumOff val="-5000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8952" tIns="84662" rIns="118952" bIns="84662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b="1" kern="1200" dirty="0">
                  <a:latin typeface="+mj-lt"/>
                  <a:cs typeface="Arial"/>
                </a:rPr>
                <a:t>Bottom-up</a:t>
              </a:r>
              <a:endParaRPr lang="en-US" sz="1400" kern="1200" dirty="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971324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5576" y="472800"/>
            <a:ext cx="7488832" cy="442766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2800" dirty="0"/>
              <a:t>Conclusions</a:t>
            </a:r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1259632" y="1419622"/>
            <a:ext cx="6480720" cy="331236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en-US"/>
            </a:defPPr>
            <a:lvl1pPr marL="381000" indent="-381000" fontAlgn="base">
              <a:spcBef>
                <a:spcPct val="20000"/>
              </a:spcBef>
              <a:spcAft>
                <a:spcPct val="0"/>
              </a:spcAft>
              <a:buClr>
                <a:srgbClr val="CD0921"/>
              </a:buClr>
              <a:buSzPct val="50000"/>
              <a:buFont typeface="Wingdings 2" pitchFamily="-110" charset="2"/>
              <a:buChar char="¢"/>
              <a:defRPr sz="1400" b="1" kern="0">
                <a:solidFill>
                  <a:srgbClr val="000000"/>
                </a:solidFill>
                <a:cs typeface="Arial"/>
              </a:defRPr>
            </a:lvl1pPr>
            <a:lvl2pPr marL="781050" lvl="1" indent="-381000" fontAlgn="base">
              <a:spcBef>
                <a:spcPct val="20000"/>
              </a:spcBef>
              <a:spcAft>
                <a:spcPct val="0"/>
              </a:spcAft>
              <a:buClr>
                <a:srgbClr val="CD0921"/>
              </a:buClr>
              <a:buSzPct val="50000"/>
              <a:buFont typeface="Wingdings 2" pitchFamily="-110" charset="2"/>
              <a:buChar char="¢"/>
              <a:defRPr sz="1200" kern="0">
                <a:solidFill>
                  <a:srgbClr val="000000"/>
                </a:solidFill>
                <a:cs typeface="Arial"/>
              </a:defRPr>
            </a:lvl2pPr>
            <a:lvl3pPr marL="1143000" indent="-228600" defTabSz="457200">
              <a:spcBef>
                <a:spcPct val="20000"/>
              </a:spcBef>
              <a:buFont typeface="Arial"/>
              <a:buChar char="•"/>
              <a:defRPr sz="1400"/>
            </a:lvl3pPr>
            <a:lvl4pPr marL="1600200" indent="-228600" defTabSz="457200">
              <a:spcBef>
                <a:spcPct val="20000"/>
              </a:spcBef>
              <a:buFont typeface="Arial"/>
              <a:buChar char="–"/>
              <a:defRPr sz="1400"/>
            </a:lvl4pPr>
            <a:lvl5pPr marL="2057400" indent="-228600" defTabSz="457200">
              <a:spcBef>
                <a:spcPct val="20000"/>
              </a:spcBef>
              <a:buFont typeface="Arial"/>
              <a:buChar char="»"/>
              <a:defRPr sz="1400"/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342900" indent="-342900">
              <a:spcBef>
                <a:spcPts val="0"/>
              </a:spcBef>
              <a:spcAft>
                <a:spcPts val="1200"/>
              </a:spcAft>
              <a:buSzPct val="100000"/>
              <a:buFont typeface="+mj-lt"/>
              <a:buAutoNum type="arabicPeriod"/>
            </a:pPr>
            <a:r>
              <a:rPr lang="en-US" b="0" dirty="0">
                <a:latin typeface="+mj-lt"/>
              </a:rPr>
              <a:t>The spread of connectivity, and particularly mobile broadband, has enabled new services and products to come to market.</a:t>
            </a: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SzPct val="100000"/>
              <a:buFont typeface="+mj-lt"/>
              <a:buAutoNum type="arabicPeriod"/>
            </a:pPr>
            <a:r>
              <a:rPr lang="en-US" b="0" dirty="0">
                <a:latin typeface="+mj-lt"/>
              </a:rPr>
              <a:t>Changes to the digital ecosystem have been wide ranging and have benefited consumers and businesses.</a:t>
            </a:r>
          </a:p>
          <a:p>
            <a:pPr marL="342900" indent="-342900">
              <a:spcBef>
                <a:spcPts val="0"/>
              </a:spcBef>
              <a:spcAft>
                <a:spcPts val="1200"/>
              </a:spcAft>
              <a:buSzPct val="100000"/>
              <a:buFont typeface="+mj-lt"/>
              <a:buAutoNum type="arabicPeriod"/>
            </a:pPr>
            <a:r>
              <a:rPr lang="en-US" b="0" dirty="0">
                <a:latin typeface="+mj-lt"/>
              </a:rPr>
              <a:t>Regulation has failed to keep pace with innovation and change.</a:t>
            </a:r>
          </a:p>
          <a:p>
            <a:pPr marL="342900" indent="-342900">
              <a:spcBef>
                <a:spcPts val="0"/>
              </a:spcBef>
              <a:spcAft>
                <a:spcPts val="600"/>
              </a:spcAft>
              <a:buSzPct val="100000"/>
              <a:buFont typeface="+mj-lt"/>
              <a:buAutoNum type="arabicPeriod"/>
            </a:pPr>
            <a:r>
              <a:rPr lang="en-US" b="0" dirty="0">
                <a:latin typeface="+mj-lt"/>
              </a:rPr>
              <a:t>Now is the time to put in place new, future-proof regulatory regimes that:</a:t>
            </a:r>
          </a:p>
          <a:p>
            <a:pPr marL="447675" lvl="1" indent="-184150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Ensure the right incentives are in place to continue to roll out and upgrade mobile networks</a:t>
            </a:r>
          </a:p>
          <a:p>
            <a:pPr marL="447675" lvl="1" indent="-184150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</a:pPr>
            <a:r>
              <a:rPr lang="en-US" sz="1400" dirty="0">
                <a:latin typeface="+mj-lt"/>
              </a:rPr>
              <a:t>Apply rules consistently to all relevant players in the digital ecosystem</a:t>
            </a:r>
            <a:endParaRPr lang="en-US" sz="1400" b="0" dirty="0">
              <a:latin typeface="+mj-lt"/>
            </a:endParaRPr>
          </a:p>
          <a:p>
            <a:endParaRPr lang="en-US" b="0" dirty="0">
              <a:latin typeface="+mj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08AB27F-FE82-43F8-8A02-9B21948B93AE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7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26566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1F87C6-8F4B-C14F-952F-C5F8DB9F277E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5C5C5C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5C5C5C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27584" y="339502"/>
            <a:ext cx="7399312" cy="857250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chemeClr val="tx1"/>
                </a:solidFill>
              </a:rPr>
              <a:t>About the GSMA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628" y="981303"/>
            <a:ext cx="8562991" cy="3784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169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GSMA">
  <a:themeElements>
    <a:clrScheme name="GSMA Colours">
      <a:dk1>
        <a:srgbClr val="5C5C5C"/>
      </a:dk1>
      <a:lt1>
        <a:srgbClr val="FFFFFF"/>
      </a:lt1>
      <a:dk2>
        <a:srgbClr val="262626"/>
      </a:dk2>
      <a:lt2>
        <a:srgbClr val="FFFFFF"/>
      </a:lt2>
      <a:accent1>
        <a:srgbClr val="FF0000"/>
      </a:accent1>
      <a:accent2>
        <a:srgbClr val="000000"/>
      </a:accent2>
      <a:accent3>
        <a:srgbClr val="94C0BE"/>
      </a:accent3>
      <a:accent4>
        <a:srgbClr val="878787"/>
      </a:accent4>
      <a:accent5>
        <a:srgbClr val="FF0000"/>
      </a:accent5>
      <a:accent6>
        <a:srgbClr val="000000"/>
      </a:accent6>
      <a:hlink>
        <a:srgbClr val="94C0BE"/>
      </a:hlink>
      <a:folHlink>
        <a:srgbClr val="878787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7_GSMA">
  <a:themeElements>
    <a:clrScheme name="GSMA Colours">
      <a:dk1>
        <a:srgbClr val="5C5C5C"/>
      </a:dk1>
      <a:lt1>
        <a:srgbClr val="FFFFFF"/>
      </a:lt1>
      <a:dk2>
        <a:srgbClr val="262626"/>
      </a:dk2>
      <a:lt2>
        <a:srgbClr val="FFFFFF"/>
      </a:lt2>
      <a:accent1>
        <a:srgbClr val="FF0000"/>
      </a:accent1>
      <a:accent2>
        <a:srgbClr val="000000"/>
      </a:accent2>
      <a:accent3>
        <a:srgbClr val="94C0BE"/>
      </a:accent3>
      <a:accent4>
        <a:srgbClr val="878787"/>
      </a:accent4>
      <a:accent5>
        <a:srgbClr val="FF0000"/>
      </a:accent5>
      <a:accent6>
        <a:srgbClr val="000000"/>
      </a:accent6>
      <a:hlink>
        <a:srgbClr val="94C0BE"/>
      </a:hlink>
      <a:folHlink>
        <a:srgbClr val="878787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10_GSMA">
  <a:themeElements>
    <a:clrScheme name="GSMA Colours">
      <a:dk1>
        <a:srgbClr val="5C5C5C"/>
      </a:dk1>
      <a:lt1>
        <a:srgbClr val="FFFFFF"/>
      </a:lt1>
      <a:dk2>
        <a:srgbClr val="262626"/>
      </a:dk2>
      <a:lt2>
        <a:srgbClr val="FFFFFF"/>
      </a:lt2>
      <a:accent1>
        <a:srgbClr val="FF0000"/>
      </a:accent1>
      <a:accent2>
        <a:srgbClr val="000000"/>
      </a:accent2>
      <a:accent3>
        <a:srgbClr val="94C0BE"/>
      </a:accent3>
      <a:accent4>
        <a:srgbClr val="878787"/>
      </a:accent4>
      <a:accent5>
        <a:srgbClr val="FF0000"/>
      </a:accent5>
      <a:accent6>
        <a:srgbClr val="000000"/>
      </a:accent6>
      <a:hlink>
        <a:srgbClr val="94C0BE"/>
      </a:hlink>
      <a:folHlink>
        <a:srgbClr val="878787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Mobile Money_CTU_event_SG">
  <a:themeElements>
    <a:clrScheme name="GSMA Colours">
      <a:dk1>
        <a:srgbClr val="5C5C5C"/>
      </a:dk1>
      <a:lt1>
        <a:srgbClr val="FFFFFF"/>
      </a:lt1>
      <a:dk2>
        <a:srgbClr val="262626"/>
      </a:dk2>
      <a:lt2>
        <a:srgbClr val="FFFFFF"/>
      </a:lt2>
      <a:accent1>
        <a:srgbClr val="FF0000"/>
      </a:accent1>
      <a:accent2>
        <a:srgbClr val="000000"/>
      </a:accent2>
      <a:accent3>
        <a:srgbClr val="94C0BE"/>
      </a:accent3>
      <a:accent4>
        <a:srgbClr val="878787"/>
      </a:accent4>
      <a:accent5>
        <a:srgbClr val="FF0000"/>
      </a:accent5>
      <a:accent6>
        <a:srgbClr val="000000"/>
      </a:accent6>
      <a:hlink>
        <a:srgbClr val="94C0BE"/>
      </a:hlink>
      <a:folHlink>
        <a:srgbClr val="878787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11_GSMA">
  <a:themeElements>
    <a:clrScheme name="GSMA Colours">
      <a:dk1>
        <a:srgbClr val="5C5C5C"/>
      </a:dk1>
      <a:lt1>
        <a:srgbClr val="FFFFFF"/>
      </a:lt1>
      <a:dk2>
        <a:srgbClr val="262626"/>
      </a:dk2>
      <a:lt2>
        <a:srgbClr val="FFFFFF"/>
      </a:lt2>
      <a:accent1>
        <a:srgbClr val="FF0000"/>
      </a:accent1>
      <a:accent2>
        <a:srgbClr val="000000"/>
      </a:accent2>
      <a:accent3>
        <a:srgbClr val="94C0BE"/>
      </a:accent3>
      <a:accent4>
        <a:srgbClr val="878787"/>
      </a:accent4>
      <a:accent5>
        <a:srgbClr val="FF0000"/>
      </a:accent5>
      <a:accent6>
        <a:srgbClr val="000000"/>
      </a:accent6>
      <a:hlink>
        <a:srgbClr val="94C0BE"/>
      </a:hlink>
      <a:folHlink>
        <a:srgbClr val="878787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ULLET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ln w="12700"/>
      </a:spPr>
      <a:bodyPr wrap="square" rtlCol="0" anchor="ctr">
        <a:noAutofit/>
      </a:bodyPr>
      <a:lstStyle>
        <a:defPPr marL="33338" defTabSz="457189">
          <a:spcAft>
            <a:spcPts val="300"/>
          </a:spcAft>
          <a:buClr>
            <a:srgbClr val="FF0000"/>
          </a:buClr>
          <a:defRPr sz="900" dirty="0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  <a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a:style>
    </a:txDef>
  </a:objectDefaults>
  <a:extraClrSchemeLst/>
  <a:extLst>
    <a:ext uri="{05A4C25C-085E-4340-85A3-A5531E510DB2}">
      <thm15:themeFamily xmlns:thm15="http://schemas.microsoft.com/office/thememl/2012/main" name="Presentation1" id="{03F2CFC1-2D76-BA48-84B3-AA6BA03A8C52}" vid="{2888A920-1316-1243-A350-62E11E31A7BD}"/>
    </a:ext>
  </a:extLst>
</a:theme>
</file>

<file path=ppt/theme/theme3.xml><?xml version="1.0" encoding="utf-8"?>
<a:theme xmlns:a="http://schemas.openxmlformats.org/drawingml/2006/main" name="2_GSMA">
  <a:themeElements>
    <a:clrScheme name="GSMA Colours">
      <a:dk1>
        <a:srgbClr val="5C5C5C"/>
      </a:dk1>
      <a:lt1>
        <a:srgbClr val="FFFFFF"/>
      </a:lt1>
      <a:dk2>
        <a:srgbClr val="262626"/>
      </a:dk2>
      <a:lt2>
        <a:srgbClr val="FFFFFF"/>
      </a:lt2>
      <a:accent1>
        <a:srgbClr val="FF0000"/>
      </a:accent1>
      <a:accent2>
        <a:srgbClr val="000000"/>
      </a:accent2>
      <a:accent3>
        <a:srgbClr val="94C0BE"/>
      </a:accent3>
      <a:accent4>
        <a:srgbClr val="878787"/>
      </a:accent4>
      <a:accent5>
        <a:srgbClr val="FF0000"/>
      </a:accent5>
      <a:accent6>
        <a:srgbClr val="000000"/>
      </a:accent6>
      <a:hlink>
        <a:srgbClr val="94C0BE"/>
      </a:hlink>
      <a:folHlink>
        <a:srgbClr val="878787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GSMA">
  <a:themeElements>
    <a:clrScheme name="GSMA Colours">
      <a:dk1>
        <a:srgbClr val="5C5C5C"/>
      </a:dk1>
      <a:lt1>
        <a:srgbClr val="FFFFFF"/>
      </a:lt1>
      <a:dk2>
        <a:srgbClr val="262626"/>
      </a:dk2>
      <a:lt2>
        <a:srgbClr val="FFFFFF"/>
      </a:lt2>
      <a:accent1>
        <a:srgbClr val="FF0000"/>
      </a:accent1>
      <a:accent2>
        <a:srgbClr val="000000"/>
      </a:accent2>
      <a:accent3>
        <a:srgbClr val="94C0BE"/>
      </a:accent3>
      <a:accent4>
        <a:srgbClr val="878787"/>
      </a:accent4>
      <a:accent5>
        <a:srgbClr val="FF0000"/>
      </a:accent5>
      <a:accent6>
        <a:srgbClr val="000000"/>
      </a:accent6>
      <a:hlink>
        <a:srgbClr val="94C0BE"/>
      </a:hlink>
      <a:folHlink>
        <a:srgbClr val="878787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4_GSMA">
  <a:themeElements>
    <a:clrScheme name="GSMA Colours">
      <a:dk1>
        <a:srgbClr val="5C5C5C"/>
      </a:dk1>
      <a:lt1>
        <a:srgbClr val="FFFFFF"/>
      </a:lt1>
      <a:dk2>
        <a:srgbClr val="262626"/>
      </a:dk2>
      <a:lt2>
        <a:srgbClr val="FFFFFF"/>
      </a:lt2>
      <a:accent1>
        <a:srgbClr val="FF0000"/>
      </a:accent1>
      <a:accent2>
        <a:srgbClr val="000000"/>
      </a:accent2>
      <a:accent3>
        <a:srgbClr val="94C0BE"/>
      </a:accent3>
      <a:accent4>
        <a:srgbClr val="878787"/>
      </a:accent4>
      <a:accent5>
        <a:srgbClr val="FF0000"/>
      </a:accent5>
      <a:accent6>
        <a:srgbClr val="000000"/>
      </a:accent6>
      <a:hlink>
        <a:srgbClr val="94C0BE"/>
      </a:hlink>
      <a:folHlink>
        <a:srgbClr val="878787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5_GSMA">
  <a:themeElements>
    <a:clrScheme name="GSMA Colours">
      <a:dk1>
        <a:srgbClr val="5C5C5C"/>
      </a:dk1>
      <a:lt1>
        <a:srgbClr val="FFFFFF"/>
      </a:lt1>
      <a:dk2>
        <a:srgbClr val="262626"/>
      </a:dk2>
      <a:lt2>
        <a:srgbClr val="FFFFFF"/>
      </a:lt2>
      <a:accent1>
        <a:srgbClr val="FF0000"/>
      </a:accent1>
      <a:accent2>
        <a:srgbClr val="000000"/>
      </a:accent2>
      <a:accent3>
        <a:srgbClr val="94C0BE"/>
      </a:accent3>
      <a:accent4>
        <a:srgbClr val="878787"/>
      </a:accent4>
      <a:accent5>
        <a:srgbClr val="FF0000"/>
      </a:accent5>
      <a:accent6>
        <a:srgbClr val="000000"/>
      </a:accent6>
      <a:hlink>
        <a:srgbClr val="94C0BE"/>
      </a:hlink>
      <a:folHlink>
        <a:srgbClr val="878787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6_GSMA">
  <a:themeElements>
    <a:clrScheme name="GSMA Colours">
      <a:dk1>
        <a:srgbClr val="5C5C5C"/>
      </a:dk1>
      <a:lt1>
        <a:srgbClr val="FFFFFF"/>
      </a:lt1>
      <a:dk2>
        <a:srgbClr val="262626"/>
      </a:dk2>
      <a:lt2>
        <a:srgbClr val="FFFFFF"/>
      </a:lt2>
      <a:accent1>
        <a:srgbClr val="FF0000"/>
      </a:accent1>
      <a:accent2>
        <a:srgbClr val="000000"/>
      </a:accent2>
      <a:accent3>
        <a:srgbClr val="94C0BE"/>
      </a:accent3>
      <a:accent4>
        <a:srgbClr val="878787"/>
      </a:accent4>
      <a:accent5>
        <a:srgbClr val="FF0000"/>
      </a:accent5>
      <a:accent6>
        <a:srgbClr val="000000"/>
      </a:accent6>
      <a:hlink>
        <a:srgbClr val="94C0BE"/>
      </a:hlink>
      <a:folHlink>
        <a:srgbClr val="878787"/>
      </a:folHlink>
    </a:clrScheme>
    <a:fontScheme name="Office Classic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281</TotalTime>
  <Words>399</Words>
  <Application>Microsoft Macintosh PowerPoint</Application>
  <PresentationFormat>On-screen Show (16:9)</PresentationFormat>
  <Paragraphs>79</Paragraphs>
  <Slides>8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30" baseType="lpstr">
      <vt:lpstr>Arial</vt:lpstr>
      <vt:lpstr>Calibri</vt:lpstr>
      <vt:lpstr>Futura LT Book</vt:lpstr>
      <vt:lpstr>Sketch Rockwell</vt:lpstr>
      <vt:lpstr>Times New Roman</vt:lpstr>
      <vt:lpstr>Wingdings</vt:lpstr>
      <vt:lpstr>Wingdings 2</vt:lpstr>
      <vt:lpstr>1_GSMA</vt:lpstr>
      <vt:lpstr>BULLET</vt:lpstr>
      <vt:lpstr>2_GSMA</vt:lpstr>
      <vt:lpstr>3_GSMA</vt:lpstr>
      <vt:lpstr>4_GSMA</vt:lpstr>
      <vt:lpstr>5_GSMA</vt:lpstr>
      <vt:lpstr>2_Custom Design</vt:lpstr>
      <vt:lpstr>3_Custom Design</vt:lpstr>
      <vt:lpstr>6_GSMA</vt:lpstr>
      <vt:lpstr>4_Custom Design</vt:lpstr>
      <vt:lpstr>7_GSMA</vt:lpstr>
      <vt:lpstr>10_GSMA</vt:lpstr>
      <vt:lpstr>Mobile Money_CTU_event_SG</vt:lpstr>
      <vt:lpstr>11_GSMA</vt:lpstr>
      <vt:lpstr>think-cell Slide</vt:lpstr>
      <vt:lpstr>Modernising Regulatory Frameworks</vt:lpstr>
      <vt:lpstr>Mobile Is at the Heart of the Digital Experience</vt:lpstr>
      <vt:lpstr>Characteristics of the Digital Ecosystem</vt:lpstr>
      <vt:lpstr>Costs and Consequences  of legacy regulation</vt:lpstr>
      <vt:lpstr>Regulatory Discrimination Impedes Competition</vt:lpstr>
      <vt:lpstr>Principles of a New Regulatory Framework</vt:lpstr>
      <vt:lpstr>Conclusions</vt:lpstr>
      <vt:lpstr>About the GSM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nie Ramos</dc:creator>
  <cp:lastModifiedBy>Philippe Defraigne</cp:lastModifiedBy>
  <cp:revision>427</cp:revision>
  <cp:lastPrinted>2016-03-22T16:05:35Z</cp:lastPrinted>
  <dcterms:created xsi:type="dcterms:W3CDTF">2015-08-18T07:33:33Z</dcterms:created>
  <dcterms:modified xsi:type="dcterms:W3CDTF">2019-07-21T15:44:27Z</dcterms:modified>
</cp:coreProperties>
</file>